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532" r:id="rId2"/>
    <p:sldId id="530" r:id="rId3"/>
    <p:sldId id="533" r:id="rId4"/>
    <p:sldId id="534" r:id="rId5"/>
    <p:sldId id="531" r:id="rId6"/>
    <p:sldId id="527" r:id="rId7"/>
    <p:sldId id="529" r:id="rId8"/>
  </p:sldIdLst>
  <p:sldSz cx="12192000" cy="6858000"/>
  <p:notesSz cx="7315200" cy="96012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pos="642" userDrawn="1">
          <p15:clr>
            <a:srgbClr val="A4A3A4"/>
          </p15:clr>
        </p15:guide>
        <p15:guide id="4" pos="7038" userDrawn="1">
          <p15:clr>
            <a:srgbClr val="A4A3A4"/>
          </p15:clr>
        </p15:guide>
        <p15:guide id="5" orient="horz" pos="3793" userDrawn="1">
          <p15:clr>
            <a:srgbClr val="A4A3A4"/>
          </p15:clr>
        </p15:guide>
        <p15:guide id="6" orient="horz" pos="436" userDrawn="1">
          <p15:clr>
            <a:srgbClr val="A4A3A4"/>
          </p15:clr>
        </p15:guide>
        <p15:guide id="7" orient="horz" pos="2591" userDrawn="1">
          <p15:clr>
            <a:srgbClr val="A4A3A4"/>
          </p15:clr>
        </p15:guide>
        <p15:guide id="8" orient="horz" pos="2160" userDrawn="1">
          <p15:clr>
            <a:srgbClr val="A4A3A4"/>
          </p15:clr>
        </p15:guide>
        <p15:guide id="9" pos="3069" userDrawn="1">
          <p15:clr>
            <a:srgbClr val="A4A3A4"/>
          </p15:clr>
        </p15:guide>
        <p15:guide id="10" orient="horz" pos="3680" userDrawn="1">
          <p15:clr>
            <a:srgbClr val="A4A3A4"/>
          </p15:clr>
        </p15:guide>
        <p15:guide id="11" pos="674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00B050"/>
    <a:srgbClr val="002060"/>
    <a:srgbClr val="778496"/>
    <a:srgbClr val="D70444"/>
    <a:srgbClr val="939CE1"/>
    <a:srgbClr val="3547C3"/>
    <a:srgbClr val="D1E2F2"/>
    <a:srgbClr val="DFF5E9"/>
    <a:srgbClr val="5068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46F890A9-2807-4EBB-B81D-B2AA78EC7F39}" styleName="Estilo oscuro 2 - Énfasis 5/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078" autoAdjust="0"/>
    <p:restoredTop sz="95501" autoAdjust="0"/>
  </p:normalViewPr>
  <p:slideViewPr>
    <p:cSldViewPr snapToGrid="0" showGuides="1">
      <p:cViewPr varScale="1">
        <p:scale>
          <a:sx n="68" d="100"/>
          <a:sy n="68" d="100"/>
        </p:scale>
        <p:origin x="1212" y="72"/>
      </p:cViewPr>
      <p:guideLst>
        <p:guide pos="3840"/>
        <p:guide pos="642"/>
        <p:guide pos="7038"/>
        <p:guide orient="horz" pos="3793"/>
        <p:guide orient="horz" pos="436"/>
        <p:guide orient="horz" pos="2591"/>
        <p:guide orient="horz" pos="2160"/>
        <p:guide pos="3069"/>
        <p:guide orient="horz" pos="3680"/>
        <p:guide pos="674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4" d="100"/>
          <a:sy n="64" d="100"/>
        </p:scale>
        <p:origin x="2394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4143588" y="9119475"/>
            <a:ext cx="3169920" cy="481726"/>
          </a:xfrm>
          <a:prstGeom prst="rect">
            <a:avLst/>
          </a:prstGeom>
        </p:spPr>
        <p:txBody>
          <a:bodyPr vert="horz" lIns="98984" tIns="49492" rIns="98984" bIns="49492" rtlCol="0" anchor="b"/>
          <a:lstStyle>
            <a:lvl1pPr algn="r">
              <a:defRPr sz="1300"/>
            </a:lvl1pPr>
          </a:lstStyle>
          <a:p>
            <a:fld id="{8853AD1E-3B81-4074-9838-5358BFD6811B}" type="slidenum">
              <a:rPr lang="es-PE" sz="1000" smtClean="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‹Nº›</a:t>
            </a:fld>
            <a:endParaRPr lang="es-PE" sz="1000" dirty="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2"/>
          </p:nvPr>
        </p:nvSpPr>
        <p:spPr>
          <a:xfrm>
            <a:off x="1" y="9119651"/>
            <a:ext cx="3170138" cy="481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s-PE" sz="1000" dirty="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Proyecto Kadabra</a:t>
            </a:r>
          </a:p>
        </p:txBody>
      </p:sp>
    </p:spTree>
    <p:extLst>
      <p:ext uri="{BB962C8B-B14F-4D97-AF65-F5344CB8AC3E}">
        <p14:creationId xmlns:p14="http://schemas.microsoft.com/office/powerpoint/2010/main" val="10289494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8984" tIns="49492" rIns="98984" bIns="4949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8" y="0"/>
            <a:ext cx="3169920" cy="481727"/>
          </a:xfrm>
          <a:prstGeom prst="rect">
            <a:avLst/>
          </a:prstGeom>
        </p:spPr>
        <p:txBody>
          <a:bodyPr vert="horz" lIns="98984" tIns="49492" rIns="98984" bIns="49492" rtlCol="0"/>
          <a:lstStyle>
            <a:lvl1pPr algn="r">
              <a:defRPr sz="1300"/>
            </a:lvl1pPr>
          </a:lstStyle>
          <a:p>
            <a:fld id="{0FB64F44-63C3-4F9C-B932-DA6182F56DC7}" type="datetimeFigureOut">
              <a:rPr lang="en-US" smtClean="0"/>
              <a:t>7/10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6288" y="1200150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984" tIns="49492" rIns="98984" bIns="4949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8984" tIns="49492" rIns="98984" bIns="4949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1726"/>
          </a:xfrm>
          <a:prstGeom prst="rect">
            <a:avLst/>
          </a:prstGeom>
        </p:spPr>
        <p:txBody>
          <a:bodyPr vert="horz" lIns="98984" tIns="49492" rIns="98984" bIns="4949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8" y="9119475"/>
            <a:ext cx="3169920" cy="481726"/>
          </a:xfrm>
          <a:prstGeom prst="rect">
            <a:avLst/>
          </a:prstGeom>
        </p:spPr>
        <p:txBody>
          <a:bodyPr vert="horz" lIns="98984" tIns="49492" rIns="98984" bIns="49492" rtlCol="0" anchor="b"/>
          <a:lstStyle>
            <a:lvl1pPr algn="r">
              <a:defRPr sz="1300"/>
            </a:lvl1pPr>
          </a:lstStyle>
          <a:p>
            <a:fld id="{4C267D3A-53C5-436C-98E7-077C76BAA4B2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40749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267D3A-53C5-436C-98E7-077C76BAA4B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8832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267D3A-53C5-436C-98E7-077C76BAA4B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1227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267D3A-53C5-436C-98E7-077C76BAA4B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9130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267D3A-53C5-436C-98E7-077C76BAA4B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3893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267D3A-53C5-436C-98E7-077C76BAA4B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0651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3557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05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6637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Work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523038" y="2514600"/>
            <a:ext cx="2286000" cy="16002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877300" y="2514600"/>
            <a:ext cx="2286000" cy="16002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8877300" y="4191000"/>
            <a:ext cx="2286000" cy="16002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523038" y="4191000"/>
            <a:ext cx="2286000" cy="16002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9343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Work #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4" name="Rounded Rectangle 3"/>
          <p:cNvSpPr/>
          <p:nvPr userDrawn="1"/>
        </p:nvSpPr>
        <p:spPr>
          <a:xfrm>
            <a:off x="2413589" y="2520359"/>
            <a:ext cx="3572541" cy="1481328"/>
          </a:xfrm>
          <a:prstGeom prst="roundRect">
            <a:avLst>
              <a:gd name="adj" fmla="val 374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ounded Rectangle 5"/>
          <p:cNvSpPr/>
          <p:nvPr userDrawn="1"/>
        </p:nvSpPr>
        <p:spPr>
          <a:xfrm>
            <a:off x="2413589" y="4309872"/>
            <a:ext cx="3572541" cy="1481328"/>
          </a:xfrm>
          <a:prstGeom prst="roundRect">
            <a:avLst>
              <a:gd name="adj" fmla="val 374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ounded Rectangle 9"/>
          <p:cNvSpPr/>
          <p:nvPr userDrawn="1"/>
        </p:nvSpPr>
        <p:spPr>
          <a:xfrm>
            <a:off x="7590759" y="4309872"/>
            <a:ext cx="3572541" cy="1481328"/>
          </a:xfrm>
          <a:prstGeom prst="roundRect">
            <a:avLst>
              <a:gd name="adj" fmla="val 374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ounded Rectangle 11"/>
          <p:cNvSpPr/>
          <p:nvPr userDrawn="1"/>
        </p:nvSpPr>
        <p:spPr>
          <a:xfrm>
            <a:off x="7590759" y="2520359"/>
            <a:ext cx="3572541" cy="1481328"/>
          </a:xfrm>
          <a:prstGeom prst="roundRect">
            <a:avLst>
              <a:gd name="adj" fmla="val 374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1028700" y="2525233"/>
            <a:ext cx="1475709" cy="1475709"/>
          </a:xfrm>
          <a:prstGeom prst="roundRect">
            <a:avLst>
              <a:gd name="adj" fmla="val 3179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210744" y="2519614"/>
            <a:ext cx="1475709" cy="1475709"/>
          </a:xfrm>
          <a:prstGeom prst="roundRect">
            <a:avLst>
              <a:gd name="adj" fmla="val 3179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1028700" y="4314746"/>
            <a:ext cx="1475709" cy="1475709"/>
          </a:xfrm>
          <a:prstGeom prst="roundRect">
            <a:avLst>
              <a:gd name="adj" fmla="val 3179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6210744" y="4314746"/>
            <a:ext cx="1475709" cy="1475709"/>
          </a:xfrm>
          <a:prstGeom prst="roundRect">
            <a:avLst>
              <a:gd name="adj" fmla="val 3179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0482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ingl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187950" cy="68580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607149" y="2519474"/>
            <a:ext cx="1475709" cy="1475709"/>
          </a:xfrm>
          <a:prstGeom prst="roundRect">
            <a:avLst>
              <a:gd name="adj" fmla="val 3179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94069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73075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9519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042988" y="2532062"/>
            <a:ext cx="2468562" cy="3273425"/>
          </a:xfrm>
          <a:prstGeom prst="roundRect">
            <a:avLst>
              <a:gd name="adj" fmla="val 2191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594100" y="2532062"/>
            <a:ext cx="2468562" cy="3273425"/>
          </a:xfrm>
          <a:prstGeom prst="roundRect">
            <a:avLst>
              <a:gd name="adj" fmla="val 2191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145212" y="2532062"/>
            <a:ext cx="2468562" cy="3273425"/>
          </a:xfrm>
          <a:prstGeom prst="roundRect">
            <a:avLst>
              <a:gd name="adj" fmla="val 2191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696323" y="2532062"/>
            <a:ext cx="2468562" cy="3273425"/>
          </a:xfrm>
          <a:prstGeom prst="roundRect">
            <a:avLst>
              <a:gd name="adj" fmla="val 2191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2089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024318" y="2513013"/>
            <a:ext cx="2295144" cy="2295144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638931" y="2513013"/>
            <a:ext cx="2295144" cy="2295144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253162" y="2510219"/>
            <a:ext cx="2295144" cy="2295144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867393" y="2510219"/>
            <a:ext cx="2295144" cy="2295144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2638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107113" y="693738"/>
            <a:ext cx="2514600" cy="272491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651875" y="693738"/>
            <a:ext cx="2514600" cy="272491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107113" y="3448050"/>
            <a:ext cx="2514600" cy="272491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651875" y="3448050"/>
            <a:ext cx="2514600" cy="272491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7592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295555" y="4392943"/>
            <a:ext cx="3234956" cy="13982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028700" y="2514599"/>
            <a:ext cx="3234516" cy="3273425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560452" y="2514599"/>
            <a:ext cx="3604435" cy="3273425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297952" y="2512249"/>
            <a:ext cx="3232559" cy="185814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92513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028699" y="701675"/>
            <a:ext cx="4149725" cy="5470525"/>
          </a:xfrm>
          <a:prstGeom prst="roundRect">
            <a:avLst>
              <a:gd name="adj" fmla="val 1217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3273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96000" y="701675"/>
            <a:ext cx="2514600" cy="34564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648700" y="701675"/>
            <a:ext cx="2514600" cy="197510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8648700" y="2716213"/>
            <a:ext cx="2514600" cy="34564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096000" y="4200525"/>
            <a:ext cx="2514600" cy="197510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0576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89829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#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9797313" y="4152935"/>
            <a:ext cx="1365987" cy="16383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1028699" y="2514599"/>
            <a:ext cx="3657600" cy="16276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711699" y="2514599"/>
            <a:ext cx="2304288" cy="327355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7043737" y="2515079"/>
            <a:ext cx="4123944" cy="1618488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7043738" y="4153379"/>
            <a:ext cx="2724912" cy="1636776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2865437" y="4164012"/>
            <a:ext cx="1819656" cy="16276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28699" y="4164012"/>
            <a:ext cx="1810512" cy="16276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6644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#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2878138" y="685800"/>
            <a:ext cx="3639312" cy="363931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28700" y="684213"/>
            <a:ext cx="1792224" cy="179222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1028700" y="2533650"/>
            <a:ext cx="1792224" cy="179222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028700" y="4381500"/>
            <a:ext cx="1792224" cy="179222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2878138" y="4381500"/>
            <a:ext cx="1792224" cy="179222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4729163" y="4381500"/>
            <a:ext cx="1792224" cy="179222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62353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#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1028699" y="2535237"/>
            <a:ext cx="2378075" cy="2378075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3615531" y="2535236"/>
            <a:ext cx="2378075" cy="2378075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6202363" y="2535236"/>
            <a:ext cx="2378075" cy="2378075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8789195" y="2535235"/>
            <a:ext cx="2378075" cy="2378075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01730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#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6096000" y="685800"/>
            <a:ext cx="2487613" cy="54864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8678863" y="685800"/>
            <a:ext cx="2487613" cy="54864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64240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#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6103937" y="2030412"/>
            <a:ext cx="2432304" cy="377647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8526462" y="2030411"/>
            <a:ext cx="3666744" cy="18288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8531224" y="3859212"/>
            <a:ext cx="1828800" cy="194767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10355262" y="3859212"/>
            <a:ext cx="1837944" cy="194767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77846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187950" cy="68580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0915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#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6602227" y="4412215"/>
            <a:ext cx="4561072" cy="1396263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6602412" y="2532062"/>
            <a:ext cx="2258568" cy="1847088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8902699" y="2532062"/>
            <a:ext cx="2258568" cy="1847088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4302124" y="2532062"/>
            <a:ext cx="2258568" cy="1847088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1028699" y="2532062"/>
            <a:ext cx="3236976" cy="327355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4302125" y="4411662"/>
            <a:ext cx="2258568" cy="13990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91111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#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28700" y="2535238"/>
            <a:ext cx="3263900" cy="2424112"/>
          </a:xfrm>
          <a:prstGeom prst="roundRect">
            <a:avLst>
              <a:gd name="adj" fmla="val 1492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4462463" y="2535238"/>
            <a:ext cx="3263900" cy="2424112"/>
          </a:xfrm>
          <a:prstGeom prst="roundRect">
            <a:avLst>
              <a:gd name="adj" fmla="val 1492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7896225" y="2535238"/>
            <a:ext cx="3263900" cy="2424112"/>
          </a:xfrm>
          <a:prstGeom prst="roundRect">
            <a:avLst>
              <a:gd name="adj" fmla="val 1492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58750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#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28700" y="2514599"/>
            <a:ext cx="5029200" cy="3275013"/>
          </a:xfrm>
          <a:prstGeom prst="roundRect">
            <a:avLst>
              <a:gd name="adj" fmla="val 1492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6134100" y="2514598"/>
            <a:ext cx="5029200" cy="3275013"/>
          </a:xfrm>
          <a:prstGeom prst="roundRect">
            <a:avLst>
              <a:gd name="adj" fmla="val 1492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71813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#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8441366" y="3454400"/>
            <a:ext cx="2721933" cy="2717800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chemeClr val="accent1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5659437" y="685799"/>
            <a:ext cx="1335024" cy="133502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7050087" y="685799"/>
            <a:ext cx="1335024" cy="133502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8440737" y="685799"/>
            <a:ext cx="1335024" cy="133502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9831387" y="685799"/>
            <a:ext cx="1335024" cy="133502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9831387" y="2070099"/>
            <a:ext cx="1335024" cy="133502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8440737" y="2070099"/>
            <a:ext cx="1335024" cy="133502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7050087" y="2070099"/>
            <a:ext cx="1335024" cy="133502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5659437" y="2070099"/>
            <a:ext cx="1335024" cy="133502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30"/>
          </p:nvPr>
        </p:nvSpPr>
        <p:spPr>
          <a:xfrm>
            <a:off x="7050087" y="3454399"/>
            <a:ext cx="1335024" cy="133502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31"/>
          </p:nvPr>
        </p:nvSpPr>
        <p:spPr>
          <a:xfrm>
            <a:off x="5659437" y="3454399"/>
            <a:ext cx="1335024" cy="133502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32"/>
          </p:nvPr>
        </p:nvSpPr>
        <p:spPr>
          <a:xfrm>
            <a:off x="5659437" y="4838699"/>
            <a:ext cx="1335024" cy="133502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30" name="Picture Placeholder 2"/>
          <p:cNvSpPr>
            <a:spLocks noGrp="1"/>
          </p:cNvSpPr>
          <p:nvPr>
            <p:ph type="pic" sz="quarter" idx="33"/>
          </p:nvPr>
        </p:nvSpPr>
        <p:spPr>
          <a:xfrm>
            <a:off x="7050087" y="4838699"/>
            <a:ext cx="1335024" cy="133502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5872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2568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#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5049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13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6096000" y="-1"/>
            <a:ext cx="6096000" cy="3382963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6096000" y="3475037"/>
            <a:ext cx="6096000" cy="3382963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87441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#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042878" y="3141919"/>
            <a:ext cx="1828800" cy="1828800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2804638" y="3141919"/>
            <a:ext cx="1828800" cy="1828800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7569193" y="3141919"/>
            <a:ext cx="1828800" cy="1828800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9330953" y="3141919"/>
            <a:ext cx="1828800" cy="1828800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0249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c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1028700" y="2514600"/>
            <a:ext cx="2363086" cy="3276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3619205" y="2514600"/>
            <a:ext cx="2363086" cy="3276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8800214" y="2514600"/>
            <a:ext cx="2363086" cy="3276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6209710" y="2514600"/>
            <a:ext cx="2363086" cy="3276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1024639" y="2514600"/>
            <a:ext cx="2363086" cy="1344613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3619057" y="2514600"/>
            <a:ext cx="2363086" cy="1344613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6206239" y="2514599"/>
            <a:ext cx="2363086" cy="1344613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8800214" y="2514598"/>
            <a:ext cx="2363086" cy="1344613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7619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#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1028699" y="701675"/>
            <a:ext cx="4151313" cy="161925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1028698" y="2438400"/>
            <a:ext cx="4151313" cy="161925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1028697" y="4175125"/>
            <a:ext cx="4151313" cy="161925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9534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#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6096000" y="685799"/>
            <a:ext cx="5067300" cy="1800225"/>
          </a:xfrm>
          <a:prstGeom prst="roundRect">
            <a:avLst>
              <a:gd name="adj" fmla="val 3036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8648700" y="2514600"/>
            <a:ext cx="2514600" cy="1831975"/>
          </a:xfrm>
          <a:prstGeom prst="roundRect">
            <a:avLst>
              <a:gd name="adj" fmla="val 3036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0" name="Rounded Rectangle 9"/>
          <p:cNvSpPr/>
          <p:nvPr userDrawn="1"/>
        </p:nvSpPr>
        <p:spPr>
          <a:xfrm>
            <a:off x="6095999" y="2514600"/>
            <a:ext cx="2514600" cy="3276600"/>
          </a:xfrm>
          <a:prstGeom prst="roundRect">
            <a:avLst>
              <a:gd name="adj" fmla="val 1919"/>
            </a:avLst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ounded Rectangle 10"/>
          <p:cNvSpPr/>
          <p:nvPr userDrawn="1"/>
        </p:nvSpPr>
        <p:spPr>
          <a:xfrm>
            <a:off x="8648700" y="4380609"/>
            <a:ext cx="2514600" cy="1410591"/>
          </a:xfrm>
          <a:prstGeom prst="roundRect">
            <a:avLst>
              <a:gd name="adj" fmla="val 191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63695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#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5" name="Rounded Rectangle 4"/>
          <p:cNvSpPr/>
          <p:nvPr userDrawn="1"/>
        </p:nvSpPr>
        <p:spPr>
          <a:xfrm>
            <a:off x="7006856" y="3455579"/>
            <a:ext cx="2647507" cy="2335621"/>
          </a:xfrm>
          <a:prstGeom prst="roundRect">
            <a:avLst>
              <a:gd name="adj" fmla="val 1047"/>
            </a:avLst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ounded Rectangle 5"/>
          <p:cNvSpPr/>
          <p:nvPr userDrawn="1"/>
        </p:nvSpPr>
        <p:spPr>
          <a:xfrm>
            <a:off x="9686257" y="3455579"/>
            <a:ext cx="1477043" cy="2335621"/>
          </a:xfrm>
          <a:prstGeom prst="roundRect">
            <a:avLst>
              <a:gd name="adj" fmla="val 104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7006856" y="701675"/>
            <a:ext cx="4156444" cy="2727325"/>
          </a:xfrm>
          <a:prstGeom prst="roundRect">
            <a:avLst>
              <a:gd name="adj" fmla="val 2265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19099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6178550" y="685800"/>
            <a:ext cx="3100388" cy="3676650"/>
          </a:xfrm>
          <a:prstGeom prst="roundRect">
            <a:avLst>
              <a:gd name="adj" fmla="val 1341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1793874" y="685800"/>
            <a:ext cx="4297363" cy="2743200"/>
          </a:xfrm>
          <a:prstGeom prst="roundRect">
            <a:avLst>
              <a:gd name="adj" fmla="val 1887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1028700" y="3496441"/>
            <a:ext cx="3236913" cy="2296347"/>
          </a:xfrm>
          <a:prstGeom prst="roundRect">
            <a:avLst>
              <a:gd name="adj" fmla="val 1205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595955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1038225" y="3498850"/>
            <a:ext cx="3236913" cy="2668588"/>
          </a:xfrm>
          <a:prstGeom prst="roundRect">
            <a:avLst>
              <a:gd name="adj" fmla="val 1205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6162675" y="682625"/>
            <a:ext cx="2360613" cy="2743200"/>
          </a:xfrm>
          <a:prstGeom prst="roundRect">
            <a:avLst>
              <a:gd name="adj" fmla="val 1205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8597900" y="3498850"/>
            <a:ext cx="2570163" cy="2668588"/>
          </a:xfrm>
          <a:prstGeom prst="roundRect">
            <a:avLst>
              <a:gd name="adj" fmla="val 1205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23337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004050" y="0"/>
            <a:ext cx="5187950" cy="68580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21467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031494" y="4664076"/>
            <a:ext cx="1133856" cy="1133856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589202" y="4664076"/>
            <a:ext cx="1133856" cy="1133856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170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Work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8693888" y="3429000"/>
            <a:ext cx="2469412" cy="2362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3583763" y="3429000"/>
            <a:ext cx="2469412" cy="2362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028700" y="3429000"/>
            <a:ext cx="2468880" cy="235915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138863" y="3429000"/>
            <a:ext cx="2468880" cy="235915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8611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iniol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05442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01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1028700" y="685800"/>
            <a:ext cx="10134600" cy="54864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05805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674247" y="2339974"/>
            <a:ext cx="2362200" cy="3135313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985022" y="3306763"/>
            <a:ext cx="3170238" cy="236061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5320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152524" y="2681288"/>
            <a:ext cx="4943475" cy="310991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8003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816725" y="2211388"/>
            <a:ext cx="4208463" cy="2541587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4388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861175" y="2692400"/>
            <a:ext cx="3910013" cy="295275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72307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487988" y="863600"/>
            <a:ext cx="4941887" cy="3132138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796338" y="2471738"/>
            <a:ext cx="2346325" cy="3025775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6465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711951" y="2181225"/>
            <a:ext cx="4281488" cy="2586038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14220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 #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429250" y="2217738"/>
            <a:ext cx="5106988" cy="319405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273550" y="3171825"/>
            <a:ext cx="1854200" cy="24384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38780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 #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2997819"/>
            <a:ext cx="12192000" cy="3860181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457324" y="1338335"/>
            <a:ext cx="4443413" cy="333851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410074" y="2976563"/>
            <a:ext cx="1363663" cy="25146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0220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 #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174750" y="2644775"/>
            <a:ext cx="3736975" cy="2278063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1259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5992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49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96000" y="3994150"/>
            <a:ext cx="5060950" cy="1797051"/>
          </a:xfrm>
          <a:prstGeom prst="roundRect">
            <a:avLst>
              <a:gd name="adj" fmla="val 2630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8188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 #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081588" y="2809875"/>
            <a:ext cx="2041525" cy="2676525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65787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1028700" y="685800"/>
            <a:ext cx="5067300" cy="54864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87289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56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Work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4" name="Rounded Rectangle 3"/>
          <p:cNvSpPr/>
          <p:nvPr userDrawn="1"/>
        </p:nvSpPr>
        <p:spPr>
          <a:xfrm>
            <a:off x="5675144" y="685800"/>
            <a:ext cx="3640951" cy="1790888"/>
          </a:xfrm>
          <a:prstGeom prst="roundRect">
            <a:avLst>
              <a:gd name="adj" fmla="val 2418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ounded Rectangle 4"/>
          <p:cNvSpPr/>
          <p:nvPr userDrawn="1"/>
        </p:nvSpPr>
        <p:spPr>
          <a:xfrm>
            <a:off x="5675145" y="4381312"/>
            <a:ext cx="3640950" cy="1790888"/>
          </a:xfrm>
          <a:prstGeom prst="roundRect">
            <a:avLst>
              <a:gd name="adj" fmla="val 123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ounded Rectangle 7"/>
          <p:cNvSpPr/>
          <p:nvPr userDrawn="1"/>
        </p:nvSpPr>
        <p:spPr>
          <a:xfrm>
            <a:off x="7525208" y="2533556"/>
            <a:ext cx="3640951" cy="1790888"/>
          </a:xfrm>
          <a:prstGeom prst="roundRect">
            <a:avLst>
              <a:gd name="adj" fmla="val 1231"/>
            </a:avLst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028700" y="685800"/>
            <a:ext cx="4581144" cy="5486400"/>
          </a:xfrm>
          <a:prstGeom prst="roundRect">
            <a:avLst>
              <a:gd name="adj" fmla="val 1525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375775" y="685800"/>
            <a:ext cx="1792224" cy="1792224"/>
          </a:xfrm>
          <a:prstGeom prst="roundRect">
            <a:avLst>
              <a:gd name="adj" fmla="val 3179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5675313" y="2533650"/>
            <a:ext cx="1792224" cy="1792224"/>
          </a:xfrm>
          <a:prstGeom prst="roundRect">
            <a:avLst>
              <a:gd name="adj" fmla="val 2592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9375775" y="4381500"/>
            <a:ext cx="1792224" cy="1792224"/>
          </a:xfrm>
          <a:prstGeom prst="roundRect">
            <a:avLst>
              <a:gd name="adj" fmla="val 2006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97091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Work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1028700" y="2525233"/>
            <a:ext cx="2057400" cy="2057400"/>
          </a:xfrm>
          <a:prstGeom prst="roundRect">
            <a:avLst>
              <a:gd name="adj" fmla="val 3179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556000" y="2525233"/>
            <a:ext cx="2057400" cy="2057400"/>
          </a:xfrm>
          <a:prstGeom prst="roundRect">
            <a:avLst>
              <a:gd name="adj" fmla="val 3179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083300" y="2525233"/>
            <a:ext cx="2057400" cy="2057400"/>
          </a:xfrm>
          <a:prstGeom prst="roundRect">
            <a:avLst>
              <a:gd name="adj" fmla="val 3179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8610600" y="2525233"/>
            <a:ext cx="2057400" cy="2057400"/>
          </a:xfrm>
          <a:prstGeom prst="roundRect">
            <a:avLst>
              <a:gd name="adj" fmla="val 3179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5340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Work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1028700" y="2525233"/>
            <a:ext cx="1834116" cy="1834116"/>
          </a:xfrm>
          <a:prstGeom prst="roundRect">
            <a:avLst>
              <a:gd name="adj" fmla="val 3179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979996" y="2525233"/>
            <a:ext cx="1834116" cy="1834116"/>
          </a:xfrm>
          <a:prstGeom prst="roundRect">
            <a:avLst>
              <a:gd name="adj" fmla="val 3179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31292" y="2525233"/>
            <a:ext cx="1834116" cy="1834116"/>
          </a:xfrm>
          <a:prstGeom prst="roundRect">
            <a:avLst>
              <a:gd name="adj" fmla="val 3179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6882588" y="2525233"/>
            <a:ext cx="1834116" cy="1834116"/>
          </a:xfrm>
          <a:prstGeom prst="roundRect">
            <a:avLst>
              <a:gd name="adj" fmla="val 3179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8833884" y="2525233"/>
            <a:ext cx="1834116" cy="1834116"/>
          </a:xfrm>
          <a:prstGeom prst="roundRect">
            <a:avLst>
              <a:gd name="adj" fmla="val 3179"/>
            </a:avLst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2395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Work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1028700" y="2522575"/>
            <a:ext cx="1600200" cy="1600200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038475" y="2522575"/>
            <a:ext cx="1600200" cy="1600200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048250" y="2522575"/>
            <a:ext cx="1600200" cy="1600200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7058025" y="2522575"/>
            <a:ext cx="1600200" cy="1600200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9067800" y="2522575"/>
            <a:ext cx="1600200" cy="1600200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4524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heme" Target="../theme/theme1.xml"/><Relationship Id="rId58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19377549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69" name="Diapositiva de think-cell" r:id="rId56" imgW="270" imgH="270" progId="TCLayout.ActiveDocument.1">
                  <p:embed/>
                </p:oleObj>
              </mc:Choice>
              <mc:Fallback>
                <p:oleObj name="Diapositiva de think-cell" r:id="rId5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96600" y="6342730"/>
            <a:ext cx="10716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02060"/>
                </a:solidFill>
                <a:latin typeface="Arial" panose="020B0604020202020204" pitchFamily="34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A2912448-FEEC-49E8-9588-2DF1F90D57C2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390240" y="6468904"/>
            <a:ext cx="141737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Proyecto KADABRA</a:t>
            </a:r>
            <a:endParaRPr lang="en-US" sz="1000" dirty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ea typeface="Roboto Condensed Light" panose="02000000000000000000" pitchFamily="2" charset="0"/>
              <a:cs typeface="Arial" panose="020B0604020202020204" pitchFamily="34" charset="0"/>
            </a:endParaRPr>
          </a:p>
        </p:txBody>
      </p:sp>
      <p:pic>
        <p:nvPicPr>
          <p:cNvPr id="5" name="Imagen 4"/>
          <p:cNvPicPr>
            <a:picLocks noChangeAspect="1"/>
          </p:cNvPicPr>
          <p:nvPr userDrawn="1"/>
        </p:nvPicPr>
        <p:blipFill>
          <a:blip r:embed="rId58">
            <a:duotone>
              <a:prstClr val="black"/>
              <a:schemeClr val="bg2">
                <a:lumMod val="7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9"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641" y="6349080"/>
            <a:ext cx="402371" cy="359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373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68" r:id="rId4"/>
    <p:sldLayoutId id="2147483667" r:id="rId5"/>
    <p:sldLayoutId id="2147483669" r:id="rId6"/>
    <p:sldLayoutId id="2147483653" r:id="rId7"/>
    <p:sldLayoutId id="2147483670" r:id="rId8"/>
    <p:sldLayoutId id="2147483660" r:id="rId9"/>
    <p:sldLayoutId id="2147483671" r:id="rId10"/>
    <p:sldLayoutId id="2147483672" r:id="rId11"/>
    <p:sldLayoutId id="2147483673" r:id="rId12"/>
    <p:sldLayoutId id="2147483661" r:id="rId13"/>
    <p:sldLayoutId id="2147483675" r:id="rId14"/>
    <p:sldLayoutId id="2147483674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62" r:id="rId24"/>
    <p:sldLayoutId id="2147483684" r:id="rId25"/>
    <p:sldLayoutId id="2147483685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87" r:id="rId33"/>
    <p:sldLayoutId id="2147483686" r:id="rId34"/>
    <p:sldLayoutId id="2147483694" r:id="rId35"/>
    <p:sldLayoutId id="2147483663" r:id="rId36"/>
    <p:sldLayoutId id="2147483664" r:id="rId37"/>
    <p:sldLayoutId id="2147483665" r:id="rId38"/>
    <p:sldLayoutId id="2147483695" r:id="rId39"/>
    <p:sldLayoutId id="2147483696" r:id="rId40"/>
    <p:sldLayoutId id="2147483697" r:id="rId41"/>
    <p:sldLayoutId id="2147483666" r:id="rId42"/>
    <p:sldLayoutId id="2147483698" r:id="rId43"/>
    <p:sldLayoutId id="2147483654" r:id="rId44"/>
    <p:sldLayoutId id="2147483655" r:id="rId45"/>
    <p:sldLayoutId id="2147483656" r:id="rId46"/>
    <p:sldLayoutId id="2147483699" r:id="rId47"/>
    <p:sldLayoutId id="2147483657" r:id="rId48"/>
    <p:sldLayoutId id="2147483658" r:id="rId49"/>
    <p:sldLayoutId id="2147483700" r:id="rId50"/>
    <p:sldLayoutId id="2147483659" r:id="rId51"/>
    <p:sldLayoutId id="2147483701" r:id="rId5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1</a:t>
            </a:fld>
            <a:endParaRPr lang="en-US" dirty="0"/>
          </a:p>
        </p:txBody>
      </p:sp>
      <p:sp>
        <p:nvSpPr>
          <p:cNvPr id="4" name="TextBox 5"/>
          <p:cNvSpPr txBox="1"/>
          <p:nvPr/>
        </p:nvSpPr>
        <p:spPr>
          <a:xfrm>
            <a:off x="956928" y="3621486"/>
            <a:ext cx="1021589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PE" sz="2200" b="1" i="1" dirty="0">
                <a:solidFill>
                  <a:srgbClr val="00206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Modelo para el desarrollo y gobierno del nuevo </a:t>
            </a:r>
            <a:r>
              <a:rPr lang="es-PE" sz="2200" b="1" i="1" dirty="0" err="1">
                <a:solidFill>
                  <a:srgbClr val="00206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core</a:t>
            </a:r>
            <a:r>
              <a:rPr lang="es-PE" sz="2200" b="1" i="1" dirty="0">
                <a:solidFill>
                  <a:srgbClr val="00206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de pensiones</a:t>
            </a:r>
          </a:p>
          <a:p>
            <a:pPr algn="just"/>
            <a:endParaRPr lang="es-PE" sz="2200" b="1" i="1" dirty="0">
              <a:solidFill>
                <a:srgbClr val="002060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algn="just"/>
            <a:r>
              <a:rPr lang="es-PE" sz="2200" b="1" i="1" dirty="0">
                <a:solidFill>
                  <a:srgbClr val="00206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Propuesta</a:t>
            </a:r>
            <a:endParaRPr lang="en-US" sz="2200" b="1" i="1" dirty="0">
              <a:solidFill>
                <a:srgbClr val="002060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32142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ángulo 46"/>
          <p:cNvSpPr/>
          <p:nvPr/>
        </p:nvSpPr>
        <p:spPr>
          <a:xfrm>
            <a:off x="697230" y="5073080"/>
            <a:ext cx="10778490" cy="126965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45" name="Rectángulo 44"/>
          <p:cNvSpPr/>
          <p:nvPr/>
        </p:nvSpPr>
        <p:spPr>
          <a:xfrm>
            <a:off x="699640" y="1370045"/>
            <a:ext cx="10778490" cy="68643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" name="Rectángulo 4"/>
          <p:cNvSpPr/>
          <p:nvPr/>
        </p:nvSpPr>
        <p:spPr>
          <a:xfrm>
            <a:off x="742950" y="2743199"/>
            <a:ext cx="10778490" cy="174666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chemeClr val="bg2"/>
              </a:solidFill>
            </a:endParaRPr>
          </a:p>
        </p:txBody>
      </p:sp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7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2</a:t>
            </a:fld>
            <a:endParaRPr lang="en-US"/>
          </a:p>
        </p:txBody>
      </p:sp>
      <p:sp>
        <p:nvSpPr>
          <p:cNvPr id="4" name="Rectángulo 3"/>
          <p:cNvSpPr/>
          <p:nvPr/>
        </p:nvSpPr>
        <p:spPr>
          <a:xfrm>
            <a:off x="895350" y="1531620"/>
            <a:ext cx="10299519" cy="4229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latin typeface="Arial" panose="020B0604020202020204" pitchFamily="34" charset="0"/>
                <a:cs typeface="Arial" panose="020B0604020202020204" pitchFamily="34" charset="0"/>
              </a:rPr>
              <a:t>Gestión de Estrategia </a:t>
            </a:r>
          </a:p>
        </p:txBody>
      </p:sp>
      <p:sp>
        <p:nvSpPr>
          <p:cNvPr id="36" name="Rectángulo 35"/>
          <p:cNvSpPr/>
          <p:nvPr/>
        </p:nvSpPr>
        <p:spPr>
          <a:xfrm>
            <a:off x="2227385" y="3130379"/>
            <a:ext cx="2110800" cy="782839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</a:t>
            </a:r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l Afiliado</a:t>
            </a:r>
          </a:p>
        </p:txBody>
      </p:sp>
      <p:sp>
        <p:nvSpPr>
          <p:cNvPr id="39" name="Rectángulo 38"/>
          <p:cNvSpPr/>
          <p:nvPr/>
        </p:nvSpPr>
        <p:spPr>
          <a:xfrm>
            <a:off x="1927861" y="5196840"/>
            <a:ext cx="1813560" cy="4229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latin typeface="Arial" panose="020B0604020202020204" pitchFamily="34" charset="0"/>
                <a:cs typeface="Arial" panose="020B0604020202020204" pitchFamily="34" charset="0"/>
              </a:rPr>
              <a:t>Gestión Contable</a:t>
            </a:r>
          </a:p>
        </p:txBody>
      </p:sp>
      <p:sp>
        <p:nvSpPr>
          <p:cNvPr id="40" name="Rectángulo 39"/>
          <p:cNvSpPr/>
          <p:nvPr/>
        </p:nvSpPr>
        <p:spPr>
          <a:xfrm>
            <a:off x="8414384" y="5199091"/>
            <a:ext cx="1832871" cy="42291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latin typeface="Arial" panose="020B0604020202020204" pitchFamily="34" charset="0"/>
                <a:cs typeface="Arial" panose="020B0604020202020204" pitchFamily="34" charset="0"/>
              </a:rPr>
              <a:t>Gestión de Pagos</a:t>
            </a:r>
          </a:p>
        </p:txBody>
      </p:sp>
      <p:sp>
        <p:nvSpPr>
          <p:cNvPr id="49" name="Rectángulo 48"/>
          <p:cNvSpPr/>
          <p:nvPr/>
        </p:nvSpPr>
        <p:spPr>
          <a:xfrm>
            <a:off x="4794738" y="3129586"/>
            <a:ext cx="2356339" cy="782839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</a:t>
            </a:r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Cuentas </a:t>
            </a:r>
          </a:p>
        </p:txBody>
      </p:sp>
      <p:cxnSp>
        <p:nvCxnSpPr>
          <p:cNvPr id="50" name="Conector recto de flecha 49"/>
          <p:cNvCxnSpPr>
            <a:stCxn id="49" idx="1"/>
            <a:endCxn id="36" idx="3"/>
          </p:cNvCxnSpPr>
          <p:nvPr/>
        </p:nvCxnSpPr>
        <p:spPr>
          <a:xfrm flipH="1">
            <a:off x="4338185" y="3521006"/>
            <a:ext cx="456553" cy="793"/>
          </a:xfrm>
          <a:prstGeom prst="straightConnector1">
            <a:avLst/>
          </a:prstGeom>
          <a:ln>
            <a:solidFill>
              <a:srgbClr val="0070C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de flecha 19"/>
          <p:cNvCxnSpPr/>
          <p:nvPr/>
        </p:nvCxnSpPr>
        <p:spPr>
          <a:xfrm flipV="1">
            <a:off x="3326130" y="4572000"/>
            <a:ext cx="0" cy="377190"/>
          </a:xfrm>
          <a:prstGeom prst="straightConnector1">
            <a:avLst/>
          </a:prstGeom>
          <a:ln>
            <a:solidFill>
              <a:srgbClr val="3547C3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recto de flecha 51"/>
          <p:cNvCxnSpPr/>
          <p:nvPr/>
        </p:nvCxnSpPr>
        <p:spPr>
          <a:xfrm flipV="1">
            <a:off x="8755380" y="4535584"/>
            <a:ext cx="0" cy="482186"/>
          </a:xfrm>
          <a:prstGeom prst="straightConnector1">
            <a:avLst/>
          </a:prstGeom>
          <a:ln>
            <a:solidFill>
              <a:srgbClr val="3547C3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cto de flecha 52"/>
          <p:cNvCxnSpPr/>
          <p:nvPr/>
        </p:nvCxnSpPr>
        <p:spPr>
          <a:xfrm flipV="1">
            <a:off x="3326130" y="2209800"/>
            <a:ext cx="0" cy="377190"/>
          </a:xfrm>
          <a:prstGeom prst="straightConnector1">
            <a:avLst/>
          </a:prstGeom>
          <a:ln>
            <a:solidFill>
              <a:srgbClr val="3547C3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ector recto de flecha 53"/>
          <p:cNvCxnSpPr/>
          <p:nvPr/>
        </p:nvCxnSpPr>
        <p:spPr>
          <a:xfrm flipV="1">
            <a:off x="8755380" y="2198370"/>
            <a:ext cx="0" cy="482186"/>
          </a:xfrm>
          <a:prstGeom prst="straightConnector1">
            <a:avLst/>
          </a:prstGeom>
          <a:ln>
            <a:solidFill>
              <a:srgbClr val="3547C3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CuadroTexto 59"/>
          <p:cNvSpPr txBox="1"/>
          <p:nvPr/>
        </p:nvSpPr>
        <p:spPr>
          <a:xfrm>
            <a:off x="163425" y="3033207"/>
            <a:ext cx="421910" cy="3385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s-PE" sz="1600" dirty="0">
                <a:solidFill>
                  <a:schemeClr val="bg1">
                    <a:lumMod val="25000"/>
                  </a:schemeClr>
                </a:solidFill>
              </a:rPr>
              <a:t>N0</a:t>
            </a:r>
          </a:p>
        </p:txBody>
      </p:sp>
      <p:sp>
        <p:nvSpPr>
          <p:cNvPr id="25" name="TextBox 4">
            <a:extLst>
              <a:ext uri="{FF2B5EF4-FFF2-40B4-BE49-F238E27FC236}">
                <a16:creationId xmlns:a16="http://schemas.microsoft.com/office/drawing/2014/main" id="{6727E3F6-C820-485D-B9C6-5BB24C2B9777}"/>
              </a:ext>
            </a:extLst>
          </p:cNvPr>
          <p:cNvSpPr txBox="1"/>
          <p:nvPr/>
        </p:nvSpPr>
        <p:spPr>
          <a:xfrm>
            <a:off x="604157" y="353596"/>
            <a:ext cx="4049507" cy="338554"/>
          </a:xfrm>
          <a:prstGeom prst="rect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5400000" scaled="1"/>
            <a:tileRect/>
          </a:gra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Modelo</a:t>
            </a:r>
            <a:r>
              <a:rPr lang="en-US" dirty="0"/>
              <a:t> de </a:t>
            </a:r>
            <a:r>
              <a:rPr lang="en-US" dirty="0" err="1"/>
              <a:t>negocio</a:t>
            </a:r>
            <a:r>
              <a:rPr lang="en-US" dirty="0"/>
              <a:t> – </a:t>
            </a:r>
            <a:r>
              <a:rPr lang="en-US" dirty="0" err="1"/>
              <a:t>árbol</a:t>
            </a:r>
            <a:r>
              <a:rPr lang="en-US" dirty="0"/>
              <a:t> de </a:t>
            </a:r>
            <a:r>
              <a:rPr lang="en-US" dirty="0" err="1"/>
              <a:t>Procesos</a:t>
            </a:r>
            <a:endParaRPr lang="en-US" dirty="0"/>
          </a:p>
        </p:txBody>
      </p:sp>
      <p:sp>
        <p:nvSpPr>
          <p:cNvPr id="31" name="Rectángulo 30"/>
          <p:cNvSpPr/>
          <p:nvPr/>
        </p:nvSpPr>
        <p:spPr>
          <a:xfrm>
            <a:off x="3959155" y="5196840"/>
            <a:ext cx="1803219" cy="4229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latin typeface="Arial" panose="020B0604020202020204" pitchFamily="34" charset="0"/>
                <a:cs typeface="Arial" panose="020B0604020202020204" pitchFamily="34" charset="0"/>
              </a:rPr>
              <a:t>Gestión Legal</a:t>
            </a:r>
          </a:p>
        </p:txBody>
      </p:sp>
      <p:sp>
        <p:nvSpPr>
          <p:cNvPr id="32" name="Rectángulo 31"/>
          <p:cNvSpPr/>
          <p:nvPr/>
        </p:nvSpPr>
        <p:spPr>
          <a:xfrm>
            <a:off x="6123682" y="5196840"/>
            <a:ext cx="1923037" cy="4229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latin typeface="Arial" panose="020B0604020202020204" pitchFamily="34" charset="0"/>
                <a:cs typeface="Arial" panose="020B0604020202020204" pitchFamily="34" charset="0"/>
              </a:rPr>
              <a:t>Gestión Documentaria</a:t>
            </a:r>
          </a:p>
        </p:txBody>
      </p:sp>
      <p:sp>
        <p:nvSpPr>
          <p:cNvPr id="33" name="Rectángulo 32"/>
          <p:cNvSpPr/>
          <p:nvPr/>
        </p:nvSpPr>
        <p:spPr>
          <a:xfrm>
            <a:off x="5136808" y="5800265"/>
            <a:ext cx="1915502" cy="4229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latin typeface="Arial" panose="020B0604020202020204" pitchFamily="34" charset="0"/>
                <a:cs typeface="Arial" panose="020B0604020202020204" pitchFamily="34" charset="0"/>
              </a:rPr>
              <a:t>Gestión de Riesgos</a:t>
            </a:r>
          </a:p>
        </p:txBody>
      </p:sp>
      <p:sp>
        <p:nvSpPr>
          <p:cNvPr id="34" name="Rectángulo 33"/>
          <p:cNvSpPr/>
          <p:nvPr/>
        </p:nvSpPr>
        <p:spPr>
          <a:xfrm>
            <a:off x="7488417" y="5798623"/>
            <a:ext cx="1823346" cy="4229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latin typeface="Arial" panose="020B0604020202020204" pitchFamily="34" charset="0"/>
                <a:cs typeface="Arial" panose="020B0604020202020204" pitchFamily="34" charset="0"/>
              </a:rPr>
              <a:t>Gestión de Tecnología</a:t>
            </a:r>
          </a:p>
        </p:txBody>
      </p:sp>
      <p:sp>
        <p:nvSpPr>
          <p:cNvPr id="55" name="Rectángulo 54"/>
          <p:cNvSpPr/>
          <p:nvPr/>
        </p:nvSpPr>
        <p:spPr>
          <a:xfrm>
            <a:off x="7702414" y="3132173"/>
            <a:ext cx="2273923" cy="782839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</a:t>
            </a:r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Beneficios</a:t>
            </a:r>
          </a:p>
        </p:txBody>
      </p:sp>
      <p:cxnSp>
        <p:nvCxnSpPr>
          <p:cNvPr id="35" name="Conector recto de flecha 34"/>
          <p:cNvCxnSpPr>
            <a:stCxn id="55" idx="1"/>
            <a:endCxn id="49" idx="3"/>
          </p:cNvCxnSpPr>
          <p:nvPr/>
        </p:nvCxnSpPr>
        <p:spPr>
          <a:xfrm flipH="1" flipV="1">
            <a:off x="7151077" y="3521006"/>
            <a:ext cx="551337" cy="2587"/>
          </a:xfrm>
          <a:prstGeom prst="straightConnector1">
            <a:avLst/>
          </a:prstGeom>
          <a:ln>
            <a:solidFill>
              <a:srgbClr val="3547C3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angular 12"/>
          <p:cNvCxnSpPr>
            <a:stCxn id="55" idx="2"/>
            <a:endCxn id="36" idx="2"/>
          </p:cNvCxnSpPr>
          <p:nvPr/>
        </p:nvCxnSpPr>
        <p:spPr>
          <a:xfrm rot="5400000" flipH="1">
            <a:off x="6060184" y="1135820"/>
            <a:ext cx="1794" cy="5556591"/>
          </a:xfrm>
          <a:prstGeom prst="bentConnector3">
            <a:avLst>
              <a:gd name="adj1" fmla="val -12742475"/>
            </a:avLst>
          </a:prstGeom>
          <a:ln>
            <a:solidFill>
              <a:srgbClr val="3547C3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ángulo 37"/>
          <p:cNvSpPr/>
          <p:nvPr/>
        </p:nvSpPr>
        <p:spPr>
          <a:xfrm>
            <a:off x="2745280" y="5797136"/>
            <a:ext cx="1821181" cy="42291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latin typeface="Arial" panose="020B0604020202020204" pitchFamily="34" charset="0"/>
                <a:cs typeface="Arial" panose="020B0604020202020204" pitchFamily="34" charset="0"/>
              </a:rPr>
              <a:t>Gestión Cobranzas</a:t>
            </a:r>
          </a:p>
        </p:txBody>
      </p:sp>
    </p:spTree>
    <p:extLst>
      <p:ext uri="{BB962C8B-B14F-4D97-AF65-F5344CB8AC3E}">
        <p14:creationId xmlns:p14="http://schemas.microsoft.com/office/powerpoint/2010/main" val="28014882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706755" y="1548948"/>
            <a:ext cx="10778490" cy="147444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chemeClr val="bg2"/>
              </a:solidFill>
            </a:endParaRPr>
          </a:p>
        </p:txBody>
      </p:sp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9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3</a:t>
            </a:fld>
            <a:endParaRPr lang="en-US"/>
          </a:p>
        </p:txBody>
      </p:sp>
      <p:sp>
        <p:nvSpPr>
          <p:cNvPr id="60" name="CuadroTexto 59"/>
          <p:cNvSpPr txBox="1"/>
          <p:nvPr/>
        </p:nvSpPr>
        <p:spPr>
          <a:xfrm>
            <a:off x="127230" y="1484626"/>
            <a:ext cx="421910" cy="3385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s-PE" sz="1600" dirty="0">
                <a:solidFill>
                  <a:schemeClr val="bg1">
                    <a:lumMod val="25000"/>
                  </a:schemeClr>
                </a:solidFill>
              </a:rPr>
              <a:t>N0</a:t>
            </a:r>
          </a:p>
        </p:txBody>
      </p:sp>
      <p:sp>
        <p:nvSpPr>
          <p:cNvPr id="25" name="TextBox 4">
            <a:extLst>
              <a:ext uri="{FF2B5EF4-FFF2-40B4-BE49-F238E27FC236}">
                <a16:creationId xmlns:a16="http://schemas.microsoft.com/office/drawing/2014/main" id="{6727E3F6-C820-485D-B9C6-5BB24C2B9777}"/>
              </a:ext>
            </a:extLst>
          </p:cNvPr>
          <p:cNvSpPr txBox="1"/>
          <p:nvPr/>
        </p:nvSpPr>
        <p:spPr>
          <a:xfrm>
            <a:off x="604157" y="353596"/>
            <a:ext cx="4049507" cy="338554"/>
          </a:xfrm>
          <a:prstGeom prst="rect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5400000" scaled="1"/>
            <a:tileRect/>
          </a:gra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Modelo</a:t>
            </a:r>
            <a:r>
              <a:rPr lang="en-US" dirty="0"/>
              <a:t> de </a:t>
            </a:r>
            <a:r>
              <a:rPr lang="en-US" dirty="0" err="1"/>
              <a:t>negocio</a:t>
            </a:r>
            <a:r>
              <a:rPr lang="en-US" dirty="0"/>
              <a:t> – </a:t>
            </a:r>
            <a:r>
              <a:rPr lang="en-US" dirty="0" err="1"/>
              <a:t>árbol</a:t>
            </a:r>
            <a:r>
              <a:rPr lang="en-US" dirty="0"/>
              <a:t> de </a:t>
            </a:r>
            <a:r>
              <a:rPr lang="en-US" dirty="0" err="1"/>
              <a:t>Procesos</a:t>
            </a:r>
            <a:endParaRPr lang="en-US" dirty="0"/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87294FA4-090D-4BD8-9FB6-00EFD4CD9CB0}"/>
              </a:ext>
            </a:extLst>
          </p:cNvPr>
          <p:cNvSpPr/>
          <p:nvPr/>
        </p:nvSpPr>
        <p:spPr>
          <a:xfrm>
            <a:off x="706756" y="3370752"/>
            <a:ext cx="10778490" cy="237896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84676033-C9CF-4892-BE74-24A8849A73CC}"/>
              </a:ext>
            </a:extLst>
          </p:cNvPr>
          <p:cNvSpPr/>
          <p:nvPr/>
        </p:nvSpPr>
        <p:spPr>
          <a:xfrm>
            <a:off x="1909716" y="3901321"/>
            <a:ext cx="1833471" cy="534858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rporación</a:t>
            </a:r>
          </a:p>
        </p:txBody>
      </p:sp>
      <p:sp>
        <p:nvSpPr>
          <p:cNvPr id="44" name="Rectángulo 43">
            <a:extLst>
              <a:ext uri="{FF2B5EF4-FFF2-40B4-BE49-F238E27FC236}">
                <a16:creationId xmlns:a16="http://schemas.microsoft.com/office/drawing/2014/main" id="{0D246B7E-1DFC-4EF1-A4CB-13EF408E93EF}"/>
              </a:ext>
            </a:extLst>
          </p:cNvPr>
          <p:cNvSpPr/>
          <p:nvPr/>
        </p:nvSpPr>
        <p:spPr>
          <a:xfrm>
            <a:off x="8756287" y="3901321"/>
            <a:ext cx="1950023" cy="534858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ón de Trámites No Previsionales</a:t>
            </a:r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id="{756EE587-54C6-489F-BFFC-3E46FA85859E}"/>
              </a:ext>
            </a:extLst>
          </p:cNvPr>
          <p:cNvSpPr/>
          <p:nvPr/>
        </p:nvSpPr>
        <p:spPr>
          <a:xfrm>
            <a:off x="1909041" y="4541605"/>
            <a:ext cx="1818018" cy="507161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ncorporación</a:t>
            </a: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4E7E89D8-4A05-4688-B2B9-A7C49C330387}"/>
              </a:ext>
            </a:extLst>
          </p:cNvPr>
          <p:cNvSpPr/>
          <p:nvPr/>
        </p:nvSpPr>
        <p:spPr>
          <a:xfrm>
            <a:off x="5435982" y="3901322"/>
            <a:ext cx="1810638" cy="534857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</a:t>
            </a:r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cuentas</a:t>
            </a:r>
          </a:p>
        </p:txBody>
      </p:sp>
      <p:sp>
        <p:nvSpPr>
          <p:cNvPr id="75" name="CuadroTexto 74">
            <a:extLst>
              <a:ext uri="{FF2B5EF4-FFF2-40B4-BE49-F238E27FC236}">
                <a16:creationId xmlns:a16="http://schemas.microsoft.com/office/drawing/2014/main" id="{4236B5C6-41B4-454A-98BC-E68B13CB83C0}"/>
              </a:ext>
            </a:extLst>
          </p:cNvPr>
          <p:cNvSpPr txBox="1"/>
          <p:nvPr/>
        </p:nvSpPr>
        <p:spPr>
          <a:xfrm>
            <a:off x="189518" y="3161003"/>
            <a:ext cx="421910" cy="3385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s-PE" sz="1600" dirty="0">
                <a:solidFill>
                  <a:schemeClr val="bg1">
                    <a:lumMod val="25000"/>
                  </a:schemeClr>
                </a:solidFill>
              </a:rPr>
              <a:t>N1</a:t>
            </a:r>
          </a:p>
        </p:txBody>
      </p:sp>
      <p:sp>
        <p:nvSpPr>
          <p:cNvPr id="34" name="Rectángulo 33"/>
          <p:cNvSpPr/>
          <p:nvPr/>
        </p:nvSpPr>
        <p:spPr>
          <a:xfrm>
            <a:off x="1725930" y="1838789"/>
            <a:ext cx="2108881" cy="782839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</a:t>
            </a:r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l Afiliado</a:t>
            </a:r>
          </a:p>
        </p:txBody>
      </p:sp>
      <p:sp>
        <p:nvSpPr>
          <p:cNvPr id="39" name="Rectángulo 38"/>
          <p:cNvSpPr/>
          <p:nvPr/>
        </p:nvSpPr>
        <p:spPr>
          <a:xfrm>
            <a:off x="5188410" y="1837996"/>
            <a:ext cx="2210215" cy="782839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</a:t>
            </a:r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Cuentas </a:t>
            </a:r>
          </a:p>
        </p:txBody>
      </p:sp>
      <p:cxnSp>
        <p:nvCxnSpPr>
          <p:cNvPr id="40" name="Conector recto de flecha 39"/>
          <p:cNvCxnSpPr>
            <a:stCxn id="39" idx="1"/>
            <a:endCxn id="34" idx="3"/>
          </p:cNvCxnSpPr>
          <p:nvPr/>
        </p:nvCxnSpPr>
        <p:spPr>
          <a:xfrm flipH="1">
            <a:off x="3834811" y="2229416"/>
            <a:ext cx="1353599" cy="793"/>
          </a:xfrm>
          <a:prstGeom prst="straightConnector1">
            <a:avLst/>
          </a:prstGeom>
          <a:ln>
            <a:solidFill>
              <a:srgbClr val="0070C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ángulo 40"/>
          <p:cNvSpPr/>
          <p:nvPr/>
        </p:nvSpPr>
        <p:spPr>
          <a:xfrm>
            <a:off x="8554091" y="1840583"/>
            <a:ext cx="2201539" cy="782839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</a:t>
            </a:r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Beneficios</a:t>
            </a:r>
          </a:p>
        </p:txBody>
      </p:sp>
      <p:cxnSp>
        <p:nvCxnSpPr>
          <p:cNvPr id="45" name="Conector recto de flecha 44"/>
          <p:cNvCxnSpPr>
            <a:stCxn id="41" idx="1"/>
            <a:endCxn id="39" idx="3"/>
          </p:cNvCxnSpPr>
          <p:nvPr/>
        </p:nvCxnSpPr>
        <p:spPr>
          <a:xfrm flipH="1" flipV="1">
            <a:off x="7398625" y="2229416"/>
            <a:ext cx="1155466" cy="2587"/>
          </a:xfrm>
          <a:prstGeom prst="straightConnector1">
            <a:avLst/>
          </a:prstGeom>
          <a:ln>
            <a:solidFill>
              <a:srgbClr val="3547C3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ector angular 46"/>
          <p:cNvCxnSpPr>
            <a:stCxn id="41" idx="2"/>
            <a:endCxn id="34" idx="2"/>
          </p:cNvCxnSpPr>
          <p:nvPr/>
        </p:nvCxnSpPr>
        <p:spPr>
          <a:xfrm rot="5400000" flipH="1">
            <a:off x="6216719" y="-814720"/>
            <a:ext cx="1794" cy="6874490"/>
          </a:xfrm>
          <a:prstGeom prst="bentConnector3">
            <a:avLst>
              <a:gd name="adj1" fmla="val -12742475"/>
            </a:avLst>
          </a:prstGeom>
          <a:ln>
            <a:solidFill>
              <a:srgbClr val="3547C3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4583723" y="1540706"/>
            <a:ext cx="0" cy="4220437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recto 51"/>
          <p:cNvCxnSpPr/>
          <p:nvPr/>
        </p:nvCxnSpPr>
        <p:spPr>
          <a:xfrm flipH="1">
            <a:off x="8155046" y="1574704"/>
            <a:ext cx="4215" cy="4175009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ángulo 30">
            <a:extLst>
              <a:ext uri="{FF2B5EF4-FFF2-40B4-BE49-F238E27FC236}">
                <a16:creationId xmlns:a16="http://schemas.microsoft.com/office/drawing/2014/main" id="{0D246B7E-1DFC-4EF1-A4CB-13EF408E93EF}"/>
              </a:ext>
            </a:extLst>
          </p:cNvPr>
          <p:cNvSpPr/>
          <p:nvPr/>
        </p:nvSpPr>
        <p:spPr>
          <a:xfrm>
            <a:off x="8771186" y="4642203"/>
            <a:ext cx="1950023" cy="511402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ón de Trámites Previsionales </a:t>
            </a:r>
          </a:p>
        </p:txBody>
      </p:sp>
    </p:spTree>
    <p:extLst>
      <p:ext uri="{BB962C8B-B14F-4D97-AF65-F5344CB8AC3E}">
        <p14:creationId xmlns:p14="http://schemas.microsoft.com/office/powerpoint/2010/main" val="31133907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2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10894115" y="6417029"/>
            <a:ext cx="1071620" cy="365125"/>
          </a:xfrm>
        </p:spPr>
        <p:txBody>
          <a:bodyPr/>
          <a:lstStyle/>
          <a:p>
            <a:fld id="{A2912448-FEEC-49E8-9588-2DF1F90D57C2}" type="slidenum">
              <a:rPr lang="en-US" smtClean="0"/>
              <a:t>4</a:t>
            </a:fld>
            <a:endParaRPr lang="en-US"/>
          </a:p>
        </p:txBody>
      </p:sp>
      <p:sp>
        <p:nvSpPr>
          <p:cNvPr id="60" name="CuadroTexto 59"/>
          <p:cNvSpPr txBox="1"/>
          <p:nvPr/>
        </p:nvSpPr>
        <p:spPr>
          <a:xfrm>
            <a:off x="5158274" y="452374"/>
            <a:ext cx="421910" cy="3385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s-PE" sz="1600" dirty="0">
                <a:solidFill>
                  <a:schemeClr val="bg1">
                    <a:lumMod val="25000"/>
                  </a:schemeClr>
                </a:solidFill>
              </a:rPr>
              <a:t>N0</a:t>
            </a:r>
          </a:p>
        </p:txBody>
      </p:sp>
      <p:sp>
        <p:nvSpPr>
          <p:cNvPr id="25" name="TextBox 4">
            <a:extLst>
              <a:ext uri="{FF2B5EF4-FFF2-40B4-BE49-F238E27FC236}">
                <a16:creationId xmlns:a16="http://schemas.microsoft.com/office/drawing/2014/main" id="{6727E3F6-C820-485D-B9C6-5BB24C2B9777}"/>
              </a:ext>
            </a:extLst>
          </p:cNvPr>
          <p:cNvSpPr txBox="1"/>
          <p:nvPr/>
        </p:nvSpPr>
        <p:spPr>
          <a:xfrm>
            <a:off x="604157" y="353596"/>
            <a:ext cx="4049507" cy="338554"/>
          </a:xfrm>
          <a:prstGeom prst="rect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5400000" scaled="1"/>
            <a:tileRect/>
          </a:gra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Modelo</a:t>
            </a:r>
            <a:r>
              <a:rPr lang="en-US" dirty="0"/>
              <a:t> de </a:t>
            </a:r>
            <a:r>
              <a:rPr lang="en-US" dirty="0" err="1"/>
              <a:t>negocio</a:t>
            </a:r>
            <a:r>
              <a:rPr lang="en-US" dirty="0"/>
              <a:t> – </a:t>
            </a:r>
            <a:r>
              <a:rPr lang="en-US" dirty="0" err="1"/>
              <a:t>árbol</a:t>
            </a:r>
            <a:r>
              <a:rPr lang="en-US" dirty="0"/>
              <a:t> de </a:t>
            </a:r>
            <a:r>
              <a:rPr lang="en-US" dirty="0" err="1"/>
              <a:t>Procesos</a:t>
            </a:r>
            <a:endParaRPr lang="en-US" dirty="0"/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87294FA4-090D-4BD8-9FB6-00EFD4CD9CB0}"/>
              </a:ext>
            </a:extLst>
          </p:cNvPr>
          <p:cNvSpPr/>
          <p:nvPr/>
        </p:nvSpPr>
        <p:spPr>
          <a:xfrm>
            <a:off x="1064785" y="1420134"/>
            <a:ext cx="10778490" cy="143116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84676033-C9CF-4892-BE74-24A8849A73CC}"/>
              </a:ext>
            </a:extLst>
          </p:cNvPr>
          <p:cNvSpPr/>
          <p:nvPr/>
        </p:nvSpPr>
        <p:spPr>
          <a:xfrm>
            <a:off x="2267745" y="1595107"/>
            <a:ext cx="1833471" cy="53485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rporación</a:t>
            </a:r>
          </a:p>
        </p:txBody>
      </p:sp>
      <p:sp>
        <p:nvSpPr>
          <p:cNvPr id="44" name="Rectángulo 43">
            <a:extLst>
              <a:ext uri="{FF2B5EF4-FFF2-40B4-BE49-F238E27FC236}">
                <a16:creationId xmlns:a16="http://schemas.microsoft.com/office/drawing/2014/main" id="{0D246B7E-1DFC-4EF1-A4CB-13EF408E93EF}"/>
              </a:ext>
            </a:extLst>
          </p:cNvPr>
          <p:cNvSpPr/>
          <p:nvPr/>
        </p:nvSpPr>
        <p:spPr>
          <a:xfrm>
            <a:off x="9114316" y="1595107"/>
            <a:ext cx="1950023" cy="53485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ón de Trámites No Previsionales</a:t>
            </a:r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id="{756EE587-54C6-489F-BFFC-3E46FA85859E}"/>
              </a:ext>
            </a:extLst>
          </p:cNvPr>
          <p:cNvSpPr/>
          <p:nvPr/>
        </p:nvSpPr>
        <p:spPr>
          <a:xfrm>
            <a:off x="2267070" y="2235391"/>
            <a:ext cx="1818018" cy="50716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ncorporación</a:t>
            </a: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4E7E89D8-4A05-4688-B2B9-A7C49C330387}"/>
              </a:ext>
            </a:extLst>
          </p:cNvPr>
          <p:cNvSpPr/>
          <p:nvPr/>
        </p:nvSpPr>
        <p:spPr>
          <a:xfrm>
            <a:off x="5590815" y="1595108"/>
            <a:ext cx="1810638" cy="53485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</a:t>
            </a:r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cuentas</a:t>
            </a:r>
          </a:p>
        </p:txBody>
      </p:sp>
      <p:sp>
        <p:nvSpPr>
          <p:cNvPr id="75" name="CuadroTexto 74">
            <a:extLst>
              <a:ext uri="{FF2B5EF4-FFF2-40B4-BE49-F238E27FC236}">
                <a16:creationId xmlns:a16="http://schemas.microsoft.com/office/drawing/2014/main" id="{4236B5C6-41B4-454A-98BC-E68B13CB83C0}"/>
              </a:ext>
            </a:extLst>
          </p:cNvPr>
          <p:cNvSpPr txBox="1"/>
          <p:nvPr/>
        </p:nvSpPr>
        <p:spPr>
          <a:xfrm>
            <a:off x="547547" y="1261184"/>
            <a:ext cx="421910" cy="3385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s-PE" sz="1600" dirty="0">
                <a:solidFill>
                  <a:schemeClr val="bg1">
                    <a:lumMod val="25000"/>
                  </a:schemeClr>
                </a:solidFill>
              </a:rPr>
              <a:t>N1</a:t>
            </a:r>
          </a:p>
        </p:txBody>
      </p:sp>
      <p:grpSp>
        <p:nvGrpSpPr>
          <p:cNvPr id="2" name="Grupo 1"/>
          <p:cNvGrpSpPr/>
          <p:nvPr/>
        </p:nvGrpSpPr>
        <p:grpSpPr>
          <a:xfrm>
            <a:off x="5772989" y="263199"/>
            <a:ext cx="5832090" cy="719273"/>
            <a:chOff x="1725930" y="1143730"/>
            <a:chExt cx="9029700" cy="785426"/>
          </a:xfrm>
        </p:grpSpPr>
        <p:sp>
          <p:nvSpPr>
            <p:cNvPr id="34" name="Rectángulo 33"/>
            <p:cNvSpPr/>
            <p:nvPr/>
          </p:nvSpPr>
          <p:spPr>
            <a:xfrm>
              <a:off x="1725930" y="1144523"/>
              <a:ext cx="2108881" cy="782839"/>
            </a:xfrm>
            <a:prstGeom prst="rect">
              <a:avLst/>
            </a:prstGeom>
            <a:solidFill>
              <a:srgbClr val="002060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PE" sz="1400" b="1" dirty="0" err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m</a:t>
              </a:r>
              <a:r>
                <a:rPr lang="es-PE" sz="1400" b="1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l Afiliado</a:t>
              </a:r>
            </a:p>
          </p:txBody>
        </p:sp>
        <p:sp>
          <p:nvSpPr>
            <p:cNvPr id="39" name="Rectángulo 38"/>
            <p:cNvSpPr/>
            <p:nvPr/>
          </p:nvSpPr>
          <p:spPr>
            <a:xfrm>
              <a:off x="5188410" y="1143730"/>
              <a:ext cx="2210214" cy="782839"/>
            </a:xfrm>
            <a:prstGeom prst="rect">
              <a:avLst/>
            </a:prstGeom>
            <a:solidFill>
              <a:srgbClr val="002060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PE" sz="1400" b="1" dirty="0" err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m</a:t>
              </a:r>
              <a:r>
                <a:rPr lang="es-PE" sz="1400" b="1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Cuentas </a:t>
              </a:r>
            </a:p>
          </p:txBody>
        </p:sp>
        <p:cxnSp>
          <p:nvCxnSpPr>
            <p:cNvPr id="40" name="Conector recto de flecha 39"/>
            <p:cNvCxnSpPr>
              <a:stCxn id="39" idx="1"/>
              <a:endCxn id="34" idx="3"/>
            </p:cNvCxnSpPr>
            <p:nvPr/>
          </p:nvCxnSpPr>
          <p:spPr>
            <a:xfrm flipH="1">
              <a:off x="3834811" y="1535150"/>
              <a:ext cx="1353599" cy="793"/>
            </a:xfrm>
            <a:prstGeom prst="straightConnector1">
              <a:avLst/>
            </a:prstGeom>
            <a:ln>
              <a:solidFill>
                <a:srgbClr val="0070C0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ctángulo 40"/>
            <p:cNvSpPr/>
            <p:nvPr/>
          </p:nvSpPr>
          <p:spPr>
            <a:xfrm>
              <a:off x="8554091" y="1146317"/>
              <a:ext cx="2201539" cy="782839"/>
            </a:xfrm>
            <a:prstGeom prst="rect">
              <a:avLst/>
            </a:prstGeom>
            <a:solidFill>
              <a:srgbClr val="002060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PE" sz="1400" b="1" dirty="0" err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m</a:t>
              </a:r>
              <a:r>
                <a:rPr lang="es-PE" sz="1400" b="1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Beneficios</a:t>
              </a:r>
            </a:p>
          </p:txBody>
        </p:sp>
        <p:cxnSp>
          <p:nvCxnSpPr>
            <p:cNvPr id="45" name="Conector recto de flecha 44"/>
            <p:cNvCxnSpPr>
              <a:stCxn id="41" idx="1"/>
              <a:endCxn id="39" idx="3"/>
            </p:cNvCxnSpPr>
            <p:nvPr/>
          </p:nvCxnSpPr>
          <p:spPr>
            <a:xfrm flipH="1" flipV="1">
              <a:off x="7398625" y="1535150"/>
              <a:ext cx="1155466" cy="2587"/>
            </a:xfrm>
            <a:prstGeom prst="straightConnector1">
              <a:avLst/>
            </a:prstGeom>
            <a:ln>
              <a:solidFill>
                <a:srgbClr val="3547C3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ector angular 46"/>
            <p:cNvCxnSpPr>
              <a:stCxn id="41" idx="2"/>
              <a:endCxn id="34" idx="2"/>
            </p:cNvCxnSpPr>
            <p:nvPr/>
          </p:nvCxnSpPr>
          <p:spPr>
            <a:xfrm rot="5400000" flipH="1">
              <a:off x="6216719" y="-1508986"/>
              <a:ext cx="1794" cy="6874489"/>
            </a:xfrm>
            <a:prstGeom prst="bentConnector3">
              <a:avLst>
                <a:gd name="adj1" fmla="val -12742475"/>
              </a:avLst>
            </a:prstGeom>
            <a:ln>
              <a:solidFill>
                <a:srgbClr val="3547C3"/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" name="Conector recto 13"/>
          <p:cNvCxnSpPr/>
          <p:nvPr/>
        </p:nvCxnSpPr>
        <p:spPr>
          <a:xfrm>
            <a:off x="4583723" y="1540706"/>
            <a:ext cx="0" cy="4220437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recto 51"/>
          <p:cNvCxnSpPr/>
          <p:nvPr/>
        </p:nvCxnSpPr>
        <p:spPr>
          <a:xfrm flipH="1">
            <a:off x="7951850" y="1574704"/>
            <a:ext cx="4215" cy="4175009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ángulo 30">
            <a:extLst>
              <a:ext uri="{FF2B5EF4-FFF2-40B4-BE49-F238E27FC236}">
                <a16:creationId xmlns:a16="http://schemas.microsoft.com/office/drawing/2014/main" id="{0D246B7E-1DFC-4EF1-A4CB-13EF408E93EF}"/>
              </a:ext>
            </a:extLst>
          </p:cNvPr>
          <p:cNvSpPr/>
          <p:nvPr/>
        </p:nvSpPr>
        <p:spPr>
          <a:xfrm>
            <a:off x="9129215" y="2234391"/>
            <a:ext cx="1950023" cy="51140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ón de Trámites Previsionales </a:t>
            </a: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87294FA4-090D-4BD8-9FB6-00EFD4CD9CB0}"/>
              </a:ext>
            </a:extLst>
          </p:cNvPr>
          <p:cNvSpPr/>
          <p:nvPr/>
        </p:nvSpPr>
        <p:spPr>
          <a:xfrm>
            <a:off x="1058394" y="3055865"/>
            <a:ext cx="10778490" cy="336116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84676033-C9CF-4892-BE74-24A8849A73CC}"/>
              </a:ext>
            </a:extLst>
          </p:cNvPr>
          <p:cNvSpPr/>
          <p:nvPr/>
        </p:nvSpPr>
        <p:spPr>
          <a:xfrm>
            <a:off x="1313089" y="3213905"/>
            <a:ext cx="1833471" cy="534858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iliación</a:t>
            </a: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0D246B7E-1DFC-4EF1-A4CB-13EF408E93EF}"/>
              </a:ext>
            </a:extLst>
          </p:cNvPr>
          <p:cNvSpPr/>
          <p:nvPr/>
        </p:nvSpPr>
        <p:spPr>
          <a:xfrm>
            <a:off x="7792330" y="3231257"/>
            <a:ext cx="755829" cy="534858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5.5%</a:t>
            </a: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756EE587-54C6-489F-BFFC-3E46FA85859E}"/>
              </a:ext>
            </a:extLst>
          </p:cNvPr>
          <p:cNvSpPr/>
          <p:nvPr/>
        </p:nvSpPr>
        <p:spPr>
          <a:xfrm>
            <a:off x="3299922" y="3231254"/>
            <a:ext cx="1818018" cy="507161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-afiliación</a:t>
            </a: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4E7E89D8-4A05-4688-B2B9-A7C49C330387}"/>
              </a:ext>
            </a:extLst>
          </p:cNvPr>
          <p:cNvSpPr/>
          <p:nvPr/>
        </p:nvSpPr>
        <p:spPr>
          <a:xfrm>
            <a:off x="5581315" y="3251556"/>
            <a:ext cx="1810638" cy="445979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audación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4236B5C6-41B4-454A-98BC-E68B13CB83C0}"/>
              </a:ext>
            </a:extLst>
          </p:cNvPr>
          <p:cNvSpPr txBox="1"/>
          <p:nvPr/>
        </p:nvSpPr>
        <p:spPr>
          <a:xfrm>
            <a:off x="541156" y="2981582"/>
            <a:ext cx="421910" cy="3385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s-PE" sz="1600" dirty="0">
                <a:solidFill>
                  <a:schemeClr val="bg1">
                    <a:lumMod val="25000"/>
                  </a:schemeClr>
                </a:solidFill>
              </a:rPr>
              <a:t>N2</a:t>
            </a:r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id="{0D246B7E-1DFC-4EF1-A4CB-13EF408E93EF}"/>
              </a:ext>
            </a:extLst>
          </p:cNvPr>
          <p:cNvSpPr/>
          <p:nvPr/>
        </p:nvSpPr>
        <p:spPr>
          <a:xfrm>
            <a:off x="9777958" y="3196975"/>
            <a:ext cx="1770575" cy="555291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iro para estatales DU 037</a:t>
            </a:r>
          </a:p>
        </p:txBody>
      </p:sp>
      <p:sp>
        <p:nvSpPr>
          <p:cNvPr id="42" name="Rectángulo 41">
            <a:extLst>
              <a:ext uri="{FF2B5EF4-FFF2-40B4-BE49-F238E27FC236}">
                <a16:creationId xmlns:a16="http://schemas.microsoft.com/office/drawing/2014/main" id="{84676033-C9CF-4892-BE74-24A8849A73CC}"/>
              </a:ext>
            </a:extLst>
          </p:cNvPr>
          <p:cNvSpPr/>
          <p:nvPr/>
        </p:nvSpPr>
        <p:spPr>
          <a:xfrm>
            <a:off x="1330025" y="3806571"/>
            <a:ext cx="1833471" cy="534858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spasos</a:t>
            </a:r>
          </a:p>
        </p:txBody>
      </p:sp>
      <p:sp>
        <p:nvSpPr>
          <p:cNvPr id="43" name="Rectángulo 42">
            <a:extLst>
              <a:ext uri="{FF2B5EF4-FFF2-40B4-BE49-F238E27FC236}">
                <a16:creationId xmlns:a16="http://schemas.microsoft.com/office/drawing/2014/main" id="{756EE587-54C6-489F-BFFC-3E46FA85859E}"/>
              </a:ext>
            </a:extLst>
          </p:cNvPr>
          <p:cNvSpPr/>
          <p:nvPr/>
        </p:nvSpPr>
        <p:spPr>
          <a:xfrm>
            <a:off x="3299925" y="3823920"/>
            <a:ext cx="1818018" cy="507161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idad</a:t>
            </a:r>
          </a:p>
        </p:txBody>
      </p:sp>
      <p:sp>
        <p:nvSpPr>
          <p:cNvPr id="46" name="Rectángulo 45">
            <a:extLst>
              <a:ext uri="{FF2B5EF4-FFF2-40B4-BE49-F238E27FC236}">
                <a16:creationId xmlns:a16="http://schemas.microsoft.com/office/drawing/2014/main" id="{84676033-C9CF-4892-BE74-24A8849A73CC}"/>
              </a:ext>
            </a:extLst>
          </p:cNvPr>
          <p:cNvSpPr/>
          <p:nvPr/>
        </p:nvSpPr>
        <p:spPr>
          <a:xfrm>
            <a:off x="1330025" y="4416169"/>
            <a:ext cx="1833471" cy="534858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ertura cuenta NC</a:t>
            </a:r>
          </a:p>
        </p:txBody>
      </p:sp>
      <p:sp>
        <p:nvSpPr>
          <p:cNvPr id="48" name="Rectángulo 47">
            <a:extLst>
              <a:ext uri="{FF2B5EF4-FFF2-40B4-BE49-F238E27FC236}">
                <a16:creationId xmlns:a16="http://schemas.microsoft.com/office/drawing/2014/main" id="{756EE587-54C6-489F-BFFC-3E46FA85859E}"/>
              </a:ext>
            </a:extLst>
          </p:cNvPr>
          <p:cNvSpPr/>
          <p:nvPr/>
        </p:nvSpPr>
        <p:spPr>
          <a:xfrm>
            <a:off x="3299925" y="4433518"/>
            <a:ext cx="1818018" cy="507161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ersión</a:t>
            </a:r>
          </a:p>
        </p:txBody>
      </p:sp>
      <p:sp>
        <p:nvSpPr>
          <p:cNvPr id="49" name="Rectángulo 48">
            <a:extLst>
              <a:ext uri="{FF2B5EF4-FFF2-40B4-BE49-F238E27FC236}">
                <a16:creationId xmlns:a16="http://schemas.microsoft.com/office/drawing/2014/main" id="{84676033-C9CF-4892-BE74-24A8849A73CC}"/>
              </a:ext>
            </a:extLst>
          </p:cNvPr>
          <p:cNvSpPr/>
          <p:nvPr/>
        </p:nvSpPr>
        <p:spPr>
          <a:xfrm>
            <a:off x="1330024" y="5042705"/>
            <a:ext cx="1833471" cy="534858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afiliación</a:t>
            </a:r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756EE587-54C6-489F-BFFC-3E46FA85859E}"/>
              </a:ext>
            </a:extLst>
          </p:cNvPr>
          <p:cNvSpPr/>
          <p:nvPr/>
        </p:nvSpPr>
        <p:spPr>
          <a:xfrm>
            <a:off x="3316857" y="5060054"/>
            <a:ext cx="1818018" cy="507161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ulación</a:t>
            </a:r>
          </a:p>
        </p:txBody>
      </p:sp>
      <p:sp>
        <p:nvSpPr>
          <p:cNvPr id="51" name="Rectángulo 50">
            <a:extLst>
              <a:ext uri="{FF2B5EF4-FFF2-40B4-BE49-F238E27FC236}">
                <a16:creationId xmlns:a16="http://schemas.microsoft.com/office/drawing/2014/main" id="{0D246B7E-1DFC-4EF1-A4CB-13EF408E93EF}"/>
              </a:ext>
            </a:extLst>
          </p:cNvPr>
          <p:cNvSpPr/>
          <p:nvPr/>
        </p:nvSpPr>
        <p:spPr>
          <a:xfrm>
            <a:off x="8756819" y="3217409"/>
            <a:ext cx="755829" cy="534858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%</a:t>
            </a:r>
          </a:p>
        </p:txBody>
      </p:sp>
      <p:sp>
        <p:nvSpPr>
          <p:cNvPr id="53" name="Rectángulo 52">
            <a:extLst>
              <a:ext uri="{FF2B5EF4-FFF2-40B4-BE49-F238E27FC236}">
                <a16:creationId xmlns:a16="http://schemas.microsoft.com/office/drawing/2014/main" id="{0D246B7E-1DFC-4EF1-A4CB-13EF408E93EF}"/>
              </a:ext>
            </a:extLst>
          </p:cNvPr>
          <p:cNvSpPr/>
          <p:nvPr/>
        </p:nvSpPr>
        <p:spPr>
          <a:xfrm>
            <a:off x="7783305" y="3887837"/>
            <a:ext cx="755829" cy="56528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V / RAO</a:t>
            </a:r>
          </a:p>
        </p:txBody>
      </p:sp>
      <p:sp>
        <p:nvSpPr>
          <p:cNvPr id="54" name="Rectángulo 53">
            <a:extLst>
              <a:ext uri="{FF2B5EF4-FFF2-40B4-BE49-F238E27FC236}">
                <a16:creationId xmlns:a16="http://schemas.microsoft.com/office/drawing/2014/main" id="{0D246B7E-1DFC-4EF1-A4CB-13EF408E93EF}"/>
              </a:ext>
            </a:extLst>
          </p:cNvPr>
          <p:cNvSpPr/>
          <p:nvPr/>
        </p:nvSpPr>
        <p:spPr>
          <a:xfrm>
            <a:off x="8769344" y="3887837"/>
            <a:ext cx="755829" cy="569558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</a:t>
            </a:r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id="{0D246B7E-1DFC-4EF1-A4CB-13EF408E93EF}"/>
              </a:ext>
            </a:extLst>
          </p:cNvPr>
          <p:cNvSpPr/>
          <p:nvPr/>
        </p:nvSpPr>
        <p:spPr>
          <a:xfrm>
            <a:off x="9777952" y="3887837"/>
            <a:ext cx="1770581" cy="56528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mbio de fondo obligatorio / SFP / CFP</a:t>
            </a: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id="{0D246B7E-1DFC-4EF1-A4CB-13EF408E93EF}"/>
              </a:ext>
            </a:extLst>
          </p:cNvPr>
          <p:cNvSpPr/>
          <p:nvPr/>
        </p:nvSpPr>
        <p:spPr>
          <a:xfrm>
            <a:off x="7775933" y="4563646"/>
            <a:ext cx="1770581" cy="56528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ferencia  fondos al exterior</a:t>
            </a: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0D246B7E-1DFC-4EF1-A4CB-13EF408E93EF}"/>
              </a:ext>
            </a:extLst>
          </p:cNvPr>
          <p:cNvSpPr/>
          <p:nvPr/>
        </p:nvSpPr>
        <p:spPr>
          <a:xfrm>
            <a:off x="9790996" y="4563648"/>
            <a:ext cx="1770581" cy="56528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bilación</a:t>
            </a:r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0D246B7E-1DFC-4EF1-A4CB-13EF408E93EF}"/>
              </a:ext>
            </a:extLst>
          </p:cNvPr>
          <p:cNvSpPr/>
          <p:nvPr/>
        </p:nvSpPr>
        <p:spPr>
          <a:xfrm>
            <a:off x="7775936" y="5240977"/>
            <a:ext cx="1770581" cy="438392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brevivencia</a:t>
            </a:r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0D246B7E-1DFC-4EF1-A4CB-13EF408E93EF}"/>
              </a:ext>
            </a:extLst>
          </p:cNvPr>
          <p:cNvSpPr/>
          <p:nvPr/>
        </p:nvSpPr>
        <p:spPr>
          <a:xfrm>
            <a:off x="9790999" y="5240979"/>
            <a:ext cx="1770581" cy="438392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elio </a:t>
            </a:r>
          </a:p>
        </p:txBody>
      </p:sp>
      <p:sp>
        <p:nvSpPr>
          <p:cNvPr id="63" name="Rectángulo 62">
            <a:extLst>
              <a:ext uri="{FF2B5EF4-FFF2-40B4-BE49-F238E27FC236}">
                <a16:creationId xmlns:a16="http://schemas.microsoft.com/office/drawing/2014/main" id="{0D246B7E-1DFC-4EF1-A4CB-13EF408E93EF}"/>
              </a:ext>
            </a:extLst>
          </p:cNvPr>
          <p:cNvSpPr/>
          <p:nvPr/>
        </p:nvSpPr>
        <p:spPr>
          <a:xfrm>
            <a:off x="7775939" y="5765908"/>
            <a:ext cx="1770581" cy="438392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alidez</a:t>
            </a:r>
          </a:p>
        </p:txBody>
      </p:sp>
      <p:sp>
        <p:nvSpPr>
          <p:cNvPr id="64" name="Rectángulo 63">
            <a:extLst>
              <a:ext uri="{FF2B5EF4-FFF2-40B4-BE49-F238E27FC236}">
                <a16:creationId xmlns:a16="http://schemas.microsoft.com/office/drawing/2014/main" id="{0D246B7E-1DFC-4EF1-A4CB-13EF408E93EF}"/>
              </a:ext>
            </a:extLst>
          </p:cNvPr>
          <p:cNvSpPr/>
          <p:nvPr/>
        </p:nvSpPr>
        <p:spPr>
          <a:xfrm>
            <a:off x="9791002" y="5765910"/>
            <a:ext cx="1770581" cy="438392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encia</a:t>
            </a:r>
          </a:p>
        </p:txBody>
      </p:sp>
      <p:sp>
        <p:nvSpPr>
          <p:cNvPr id="65" name="Rectángulo 64">
            <a:extLst>
              <a:ext uri="{FF2B5EF4-FFF2-40B4-BE49-F238E27FC236}">
                <a16:creationId xmlns:a16="http://schemas.microsoft.com/office/drawing/2014/main" id="{4E7E89D8-4A05-4688-B2B9-A7C49C330387}"/>
              </a:ext>
            </a:extLst>
          </p:cNvPr>
          <p:cNvSpPr/>
          <p:nvPr/>
        </p:nvSpPr>
        <p:spPr>
          <a:xfrm>
            <a:off x="5588608" y="3877277"/>
            <a:ext cx="1810638" cy="445979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reditación</a:t>
            </a:r>
          </a:p>
        </p:txBody>
      </p:sp>
      <p:sp>
        <p:nvSpPr>
          <p:cNvPr id="66" name="Rectángulo 65">
            <a:extLst>
              <a:ext uri="{FF2B5EF4-FFF2-40B4-BE49-F238E27FC236}">
                <a16:creationId xmlns:a16="http://schemas.microsoft.com/office/drawing/2014/main" id="{4E7E89D8-4A05-4688-B2B9-A7C49C330387}"/>
              </a:ext>
            </a:extLst>
          </p:cNvPr>
          <p:cNvSpPr/>
          <p:nvPr/>
        </p:nvSpPr>
        <p:spPr>
          <a:xfrm>
            <a:off x="5590815" y="4505882"/>
            <a:ext cx="1810638" cy="445979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go / abono de cuentas</a:t>
            </a:r>
          </a:p>
        </p:txBody>
      </p:sp>
      <p:sp>
        <p:nvSpPr>
          <p:cNvPr id="67" name="Rectángulo 66">
            <a:extLst>
              <a:ext uri="{FF2B5EF4-FFF2-40B4-BE49-F238E27FC236}">
                <a16:creationId xmlns:a16="http://schemas.microsoft.com/office/drawing/2014/main" id="{4E7E89D8-4A05-4688-B2B9-A7C49C330387}"/>
              </a:ext>
            </a:extLst>
          </p:cNvPr>
          <p:cNvSpPr/>
          <p:nvPr/>
        </p:nvSpPr>
        <p:spPr>
          <a:xfrm>
            <a:off x="5606245" y="5149224"/>
            <a:ext cx="1810638" cy="445979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ción de deuda</a:t>
            </a:r>
          </a:p>
        </p:txBody>
      </p:sp>
      <p:sp>
        <p:nvSpPr>
          <p:cNvPr id="68" name="Rectángulo 67">
            <a:extLst>
              <a:ext uri="{FF2B5EF4-FFF2-40B4-BE49-F238E27FC236}">
                <a16:creationId xmlns:a16="http://schemas.microsoft.com/office/drawing/2014/main" id="{4E7E89D8-4A05-4688-B2B9-A7C49C330387}"/>
              </a:ext>
            </a:extLst>
          </p:cNvPr>
          <p:cNvSpPr/>
          <p:nvPr/>
        </p:nvSpPr>
        <p:spPr>
          <a:xfrm>
            <a:off x="5600038" y="5792566"/>
            <a:ext cx="1810638" cy="445979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vimiento/  saldos</a:t>
            </a:r>
          </a:p>
        </p:txBody>
      </p:sp>
    </p:spTree>
    <p:extLst>
      <p:ext uri="{BB962C8B-B14F-4D97-AF65-F5344CB8AC3E}">
        <p14:creationId xmlns:p14="http://schemas.microsoft.com/office/powerpoint/2010/main" val="10613718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5</a:t>
            </a:fld>
            <a:endParaRPr lang="en-US" dirty="0"/>
          </a:p>
        </p:txBody>
      </p:sp>
      <p:sp>
        <p:nvSpPr>
          <p:cNvPr id="4" name="TextBox 5"/>
          <p:cNvSpPr txBox="1"/>
          <p:nvPr/>
        </p:nvSpPr>
        <p:spPr>
          <a:xfrm>
            <a:off x="956928" y="3621486"/>
            <a:ext cx="1021589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PE" sz="2200" b="1" i="1" dirty="0">
                <a:solidFill>
                  <a:srgbClr val="00206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Modelo para el desarrollo y gobierno del nuevo </a:t>
            </a:r>
            <a:r>
              <a:rPr lang="es-PE" sz="2200" b="1" i="1" dirty="0" err="1">
                <a:solidFill>
                  <a:srgbClr val="00206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core</a:t>
            </a:r>
            <a:r>
              <a:rPr lang="es-PE" sz="2200" b="1" i="1" dirty="0">
                <a:solidFill>
                  <a:srgbClr val="00206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de pensiones</a:t>
            </a:r>
          </a:p>
          <a:p>
            <a:pPr algn="just"/>
            <a:endParaRPr lang="es-PE" sz="2200" b="1" i="1" dirty="0">
              <a:solidFill>
                <a:srgbClr val="002060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99187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ángulo 46"/>
          <p:cNvSpPr/>
          <p:nvPr/>
        </p:nvSpPr>
        <p:spPr>
          <a:xfrm>
            <a:off x="697230" y="5073080"/>
            <a:ext cx="10778490" cy="68643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45" name="Rectángulo 44"/>
          <p:cNvSpPr/>
          <p:nvPr/>
        </p:nvSpPr>
        <p:spPr>
          <a:xfrm>
            <a:off x="699640" y="1370045"/>
            <a:ext cx="10778490" cy="68643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" name="Rectángulo 4"/>
          <p:cNvSpPr/>
          <p:nvPr/>
        </p:nvSpPr>
        <p:spPr>
          <a:xfrm>
            <a:off x="742950" y="2743199"/>
            <a:ext cx="10778490" cy="174666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chemeClr val="bg2"/>
              </a:solidFill>
            </a:endParaRPr>
          </a:p>
        </p:txBody>
      </p:sp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8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6</a:t>
            </a:fld>
            <a:endParaRPr lang="en-US"/>
          </a:p>
        </p:txBody>
      </p:sp>
      <p:sp>
        <p:nvSpPr>
          <p:cNvPr id="4" name="Rectángulo 3"/>
          <p:cNvSpPr/>
          <p:nvPr/>
        </p:nvSpPr>
        <p:spPr>
          <a:xfrm>
            <a:off x="895350" y="1531620"/>
            <a:ext cx="10299519" cy="4229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latin typeface="Arial" panose="020B0604020202020204" pitchFamily="34" charset="0"/>
                <a:cs typeface="Arial" panose="020B0604020202020204" pitchFamily="34" charset="0"/>
              </a:rPr>
              <a:t>Gestión de Estrategia </a:t>
            </a:r>
          </a:p>
        </p:txBody>
      </p:sp>
      <p:sp>
        <p:nvSpPr>
          <p:cNvPr id="36" name="Rectángulo 35"/>
          <p:cNvSpPr/>
          <p:nvPr/>
        </p:nvSpPr>
        <p:spPr>
          <a:xfrm>
            <a:off x="906781" y="3210389"/>
            <a:ext cx="1396864" cy="782839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rporación</a:t>
            </a:r>
          </a:p>
        </p:txBody>
      </p:sp>
      <p:sp>
        <p:nvSpPr>
          <p:cNvPr id="37" name="Rectángulo 36"/>
          <p:cNvSpPr/>
          <p:nvPr/>
        </p:nvSpPr>
        <p:spPr>
          <a:xfrm>
            <a:off x="7262860" y="3202484"/>
            <a:ext cx="2518247" cy="782839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ón tramites previsionales y no previsionales</a:t>
            </a:r>
          </a:p>
        </p:txBody>
      </p:sp>
      <p:sp>
        <p:nvSpPr>
          <p:cNvPr id="39" name="Rectángulo 38"/>
          <p:cNvSpPr/>
          <p:nvPr/>
        </p:nvSpPr>
        <p:spPr>
          <a:xfrm>
            <a:off x="819151" y="5196840"/>
            <a:ext cx="1695450" cy="4229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latin typeface="Arial" panose="020B0604020202020204" pitchFamily="34" charset="0"/>
                <a:cs typeface="Arial" panose="020B0604020202020204" pitchFamily="34" charset="0"/>
              </a:rPr>
              <a:t>Gestión Contable</a:t>
            </a:r>
          </a:p>
        </p:txBody>
      </p:sp>
      <p:sp>
        <p:nvSpPr>
          <p:cNvPr id="40" name="Rectángulo 39"/>
          <p:cNvSpPr/>
          <p:nvPr/>
        </p:nvSpPr>
        <p:spPr>
          <a:xfrm>
            <a:off x="7936752" y="5204842"/>
            <a:ext cx="1512570" cy="4229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latin typeface="Arial" panose="020B0604020202020204" pitchFamily="34" charset="0"/>
                <a:cs typeface="Arial" panose="020B0604020202020204" pitchFamily="34" charset="0"/>
              </a:rPr>
              <a:t>Gestión de tesorería</a:t>
            </a:r>
          </a:p>
        </p:txBody>
      </p:sp>
      <p:sp>
        <p:nvSpPr>
          <p:cNvPr id="42" name="Rectángulo 41"/>
          <p:cNvSpPr/>
          <p:nvPr/>
        </p:nvSpPr>
        <p:spPr>
          <a:xfrm>
            <a:off x="9955529" y="3235043"/>
            <a:ext cx="1295127" cy="711672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ncorporación</a:t>
            </a:r>
          </a:p>
        </p:txBody>
      </p:sp>
      <p:sp>
        <p:nvSpPr>
          <p:cNvPr id="49" name="Rectángulo 48"/>
          <p:cNvSpPr/>
          <p:nvPr/>
        </p:nvSpPr>
        <p:spPr>
          <a:xfrm>
            <a:off x="2524626" y="3212384"/>
            <a:ext cx="1373004" cy="782839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audación</a:t>
            </a:r>
          </a:p>
        </p:txBody>
      </p:sp>
      <p:cxnSp>
        <p:nvCxnSpPr>
          <p:cNvPr id="50" name="Conector recto de flecha 49"/>
          <p:cNvCxnSpPr>
            <a:stCxn id="49" idx="1"/>
            <a:endCxn id="36" idx="3"/>
          </p:cNvCxnSpPr>
          <p:nvPr/>
        </p:nvCxnSpPr>
        <p:spPr>
          <a:xfrm flipH="1" flipV="1">
            <a:off x="2303645" y="3601809"/>
            <a:ext cx="220981" cy="1995"/>
          </a:xfrm>
          <a:prstGeom prst="straightConnector1">
            <a:avLst/>
          </a:prstGeom>
          <a:ln>
            <a:solidFill>
              <a:srgbClr val="0070C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cto de flecha 50"/>
          <p:cNvCxnSpPr>
            <a:stCxn id="37" idx="1"/>
            <a:endCxn id="49" idx="3"/>
          </p:cNvCxnSpPr>
          <p:nvPr/>
        </p:nvCxnSpPr>
        <p:spPr>
          <a:xfrm flipH="1">
            <a:off x="3897630" y="3593904"/>
            <a:ext cx="3365230" cy="9900"/>
          </a:xfrm>
          <a:prstGeom prst="straightConnector1">
            <a:avLst/>
          </a:prstGeom>
          <a:ln>
            <a:solidFill>
              <a:srgbClr val="0070C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de flecha 19"/>
          <p:cNvCxnSpPr/>
          <p:nvPr/>
        </p:nvCxnSpPr>
        <p:spPr>
          <a:xfrm flipV="1">
            <a:off x="3326130" y="4572000"/>
            <a:ext cx="0" cy="377190"/>
          </a:xfrm>
          <a:prstGeom prst="straightConnector1">
            <a:avLst/>
          </a:prstGeom>
          <a:ln>
            <a:solidFill>
              <a:srgbClr val="3547C3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recto de flecha 51"/>
          <p:cNvCxnSpPr/>
          <p:nvPr/>
        </p:nvCxnSpPr>
        <p:spPr>
          <a:xfrm flipV="1">
            <a:off x="8755380" y="4535584"/>
            <a:ext cx="0" cy="482186"/>
          </a:xfrm>
          <a:prstGeom prst="straightConnector1">
            <a:avLst/>
          </a:prstGeom>
          <a:ln>
            <a:solidFill>
              <a:srgbClr val="3547C3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cto de flecha 52"/>
          <p:cNvCxnSpPr/>
          <p:nvPr/>
        </p:nvCxnSpPr>
        <p:spPr>
          <a:xfrm flipV="1">
            <a:off x="3326130" y="2209800"/>
            <a:ext cx="0" cy="377190"/>
          </a:xfrm>
          <a:prstGeom prst="straightConnector1">
            <a:avLst/>
          </a:prstGeom>
          <a:ln>
            <a:solidFill>
              <a:srgbClr val="3547C3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ector recto de flecha 53"/>
          <p:cNvCxnSpPr/>
          <p:nvPr/>
        </p:nvCxnSpPr>
        <p:spPr>
          <a:xfrm flipV="1">
            <a:off x="8755380" y="2198370"/>
            <a:ext cx="0" cy="482186"/>
          </a:xfrm>
          <a:prstGeom prst="straightConnector1">
            <a:avLst/>
          </a:prstGeom>
          <a:ln>
            <a:solidFill>
              <a:srgbClr val="3547C3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CuadroTexto 59"/>
          <p:cNvSpPr txBox="1"/>
          <p:nvPr/>
        </p:nvSpPr>
        <p:spPr>
          <a:xfrm>
            <a:off x="163425" y="3033207"/>
            <a:ext cx="421910" cy="3385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s-PE" sz="1600" dirty="0">
                <a:solidFill>
                  <a:schemeClr val="bg1">
                    <a:lumMod val="25000"/>
                  </a:schemeClr>
                </a:solidFill>
              </a:rPr>
              <a:t>N0</a:t>
            </a:r>
          </a:p>
        </p:txBody>
      </p:sp>
      <p:cxnSp>
        <p:nvCxnSpPr>
          <p:cNvPr id="27" name="Conector recto de flecha 26">
            <a:extLst>
              <a:ext uri="{FF2B5EF4-FFF2-40B4-BE49-F238E27FC236}">
                <a16:creationId xmlns:a16="http://schemas.microsoft.com/office/drawing/2014/main" id="{E1872B9D-DB92-4585-B78A-8308A6E040E3}"/>
              </a:ext>
            </a:extLst>
          </p:cNvPr>
          <p:cNvCxnSpPr>
            <a:stCxn id="42" idx="1"/>
            <a:endCxn id="37" idx="3"/>
          </p:cNvCxnSpPr>
          <p:nvPr/>
        </p:nvCxnSpPr>
        <p:spPr>
          <a:xfrm flipH="1">
            <a:off x="9781107" y="3590879"/>
            <a:ext cx="174422" cy="3025"/>
          </a:xfrm>
          <a:prstGeom prst="straightConnector1">
            <a:avLst/>
          </a:prstGeom>
          <a:ln>
            <a:solidFill>
              <a:srgbClr val="0070C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4">
            <a:extLst>
              <a:ext uri="{FF2B5EF4-FFF2-40B4-BE49-F238E27FC236}">
                <a16:creationId xmlns:a16="http://schemas.microsoft.com/office/drawing/2014/main" id="{6727E3F6-C820-485D-B9C6-5BB24C2B9777}"/>
              </a:ext>
            </a:extLst>
          </p:cNvPr>
          <p:cNvSpPr txBox="1"/>
          <p:nvPr/>
        </p:nvSpPr>
        <p:spPr>
          <a:xfrm>
            <a:off x="604157" y="353596"/>
            <a:ext cx="4049507" cy="338554"/>
          </a:xfrm>
          <a:prstGeom prst="rect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5400000" scaled="1"/>
            <a:tileRect/>
          </a:gra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Modelo</a:t>
            </a:r>
            <a:r>
              <a:rPr lang="en-US" dirty="0"/>
              <a:t> de </a:t>
            </a:r>
            <a:r>
              <a:rPr lang="en-US" dirty="0" err="1"/>
              <a:t>negocio</a:t>
            </a:r>
            <a:r>
              <a:rPr lang="en-US" dirty="0"/>
              <a:t> – </a:t>
            </a:r>
            <a:r>
              <a:rPr lang="en-US" dirty="0" err="1"/>
              <a:t>árbol</a:t>
            </a:r>
            <a:r>
              <a:rPr lang="en-US" dirty="0"/>
              <a:t> de </a:t>
            </a:r>
            <a:r>
              <a:rPr lang="en-US" dirty="0" err="1"/>
              <a:t>Procesos</a:t>
            </a:r>
            <a:endParaRPr lang="en-US" dirty="0"/>
          </a:p>
        </p:txBody>
      </p:sp>
      <p:sp>
        <p:nvSpPr>
          <p:cNvPr id="31" name="Rectángulo 30"/>
          <p:cNvSpPr/>
          <p:nvPr/>
        </p:nvSpPr>
        <p:spPr>
          <a:xfrm>
            <a:off x="2850445" y="5196840"/>
            <a:ext cx="1298645" cy="4229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latin typeface="Arial" panose="020B0604020202020204" pitchFamily="34" charset="0"/>
                <a:cs typeface="Arial" panose="020B0604020202020204" pitchFamily="34" charset="0"/>
              </a:rPr>
              <a:t>Gestión Legal</a:t>
            </a:r>
          </a:p>
        </p:txBody>
      </p:sp>
      <p:sp>
        <p:nvSpPr>
          <p:cNvPr id="32" name="Rectángulo 31"/>
          <p:cNvSpPr/>
          <p:nvPr/>
        </p:nvSpPr>
        <p:spPr>
          <a:xfrm>
            <a:off x="4352033" y="5196840"/>
            <a:ext cx="1397258" cy="4229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latin typeface="Arial" panose="020B0604020202020204" pitchFamily="34" charset="0"/>
                <a:cs typeface="Arial" panose="020B0604020202020204" pitchFamily="34" charset="0"/>
              </a:rPr>
              <a:t>Gestión Documentaria</a:t>
            </a:r>
          </a:p>
        </p:txBody>
      </p:sp>
      <p:sp>
        <p:nvSpPr>
          <p:cNvPr id="33" name="Rectángulo 32"/>
          <p:cNvSpPr/>
          <p:nvPr/>
        </p:nvSpPr>
        <p:spPr>
          <a:xfrm>
            <a:off x="6045109" y="5204842"/>
            <a:ext cx="1510121" cy="4229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latin typeface="Arial" panose="020B0604020202020204" pitchFamily="34" charset="0"/>
                <a:cs typeface="Arial" panose="020B0604020202020204" pitchFamily="34" charset="0"/>
              </a:rPr>
              <a:t>Gestión de Riesgos</a:t>
            </a:r>
          </a:p>
        </p:txBody>
      </p:sp>
      <p:sp>
        <p:nvSpPr>
          <p:cNvPr id="34" name="Rectángulo 33"/>
          <p:cNvSpPr/>
          <p:nvPr/>
        </p:nvSpPr>
        <p:spPr>
          <a:xfrm>
            <a:off x="9706236" y="5204842"/>
            <a:ext cx="1512570" cy="4229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latin typeface="Arial" panose="020B0604020202020204" pitchFamily="34" charset="0"/>
                <a:cs typeface="Arial" panose="020B0604020202020204" pitchFamily="34" charset="0"/>
              </a:rPr>
              <a:t>Gestión de </a:t>
            </a:r>
            <a:r>
              <a:rPr lang="es-PE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Tecnologia</a:t>
            </a:r>
            <a:endParaRPr lang="es-PE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ángulo 45"/>
          <p:cNvSpPr/>
          <p:nvPr/>
        </p:nvSpPr>
        <p:spPr>
          <a:xfrm>
            <a:off x="4118611" y="3225111"/>
            <a:ext cx="1373004" cy="782839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ón de pagos</a:t>
            </a:r>
          </a:p>
        </p:txBody>
      </p:sp>
      <p:sp>
        <p:nvSpPr>
          <p:cNvPr id="55" name="Rectángulo 54"/>
          <p:cNvSpPr/>
          <p:nvPr/>
        </p:nvSpPr>
        <p:spPr>
          <a:xfrm>
            <a:off x="5667875" y="3235043"/>
            <a:ext cx="1373004" cy="782839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ón de cobranzas</a:t>
            </a:r>
          </a:p>
        </p:txBody>
      </p:sp>
    </p:spTree>
    <p:extLst>
      <p:ext uri="{BB962C8B-B14F-4D97-AF65-F5344CB8AC3E}">
        <p14:creationId xmlns:p14="http://schemas.microsoft.com/office/powerpoint/2010/main" val="1428345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706755" y="1194618"/>
            <a:ext cx="10778490" cy="174666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chemeClr val="bg2"/>
              </a:solidFill>
            </a:endParaRPr>
          </a:p>
        </p:txBody>
      </p:sp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6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12448-FEEC-49E8-9588-2DF1F90D57C2}" type="slidenum">
              <a:rPr lang="en-US" smtClean="0"/>
              <a:t>7</a:t>
            </a:fld>
            <a:endParaRPr lang="en-US"/>
          </a:p>
        </p:txBody>
      </p:sp>
      <p:sp>
        <p:nvSpPr>
          <p:cNvPr id="36" name="Rectángulo 35"/>
          <p:cNvSpPr/>
          <p:nvPr/>
        </p:nvSpPr>
        <p:spPr>
          <a:xfrm>
            <a:off x="870586" y="1661808"/>
            <a:ext cx="1396864" cy="782839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rporación</a:t>
            </a:r>
          </a:p>
        </p:txBody>
      </p:sp>
      <p:sp>
        <p:nvSpPr>
          <p:cNvPr id="37" name="Rectángulo 36"/>
          <p:cNvSpPr/>
          <p:nvPr/>
        </p:nvSpPr>
        <p:spPr>
          <a:xfrm>
            <a:off x="7226665" y="1653903"/>
            <a:ext cx="2210915" cy="782839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ón tramites previsionales y no previsionales</a:t>
            </a:r>
          </a:p>
        </p:txBody>
      </p:sp>
      <p:sp>
        <p:nvSpPr>
          <p:cNvPr id="42" name="Rectángulo 41"/>
          <p:cNvSpPr/>
          <p:nvPr/>
        </p:nvSpPr>
        <p:spPr>
          <a:xfrm>
            <a:off x="9919334" y="1686462"/>
            <a:ext cx="1295127" cy="711672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ncorporación</a:t>
            </a:r>
          </a:p>
        </p:txBody>
      </p:sp>
      <p:sp>
        <p:nvSpPr>
          <p:cNvPr id="49" name="Rectángulo 48"/>
          <p:cNvSpPr/>
          <p:nvPr/>
        </p:nvSpPr>
        <p:spPr>
          <a:xfrm>
            <a:off x="2488431" y="1663803"/>
            <a:ext cx="1373004" cy="782839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audación</a:t>
            </a:r>
          </a:p>
        </p:txBody>
      </p:sp>
      <p:cxnSp>
        <p:nvCxnSpPr>
          <p:cNvPr id="50" name="Conector recto de flecha 49"/>
          <p:cNvCxnSpPr>
            <a:stCxn id="49" idx="1"/>
            <a:endCxn id="36" idx="3"/>
          </p:cNvCxnSpPr>
          <p:nvPr/>
        </p:nvCxnSpPr>
        <p:spPr>
          <a:xfrm flipH="1" flipV="1">
            <a:off x="2267450" y="2053228"/>
            <a:ext cx="220981" cy="1995"/>
          </a:xfrm>
          <a:prstGeom prst="straightConnector1">
            <a:avLst/>
          </a:prstGeom>
          <a:ln>
            <a:solidFill>
              <a:srgbClr val="0070C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cto de flecha 50"/>
          <p:cNvCxnSpPr>
            <a:cxnSpLocks/>
            <a:stCxn id="37" idx="1"/>
            <a:endCxn id="49" idx="3"/>
          </p:cNvCxnSpPr>
          <p:nvPr/>
        </p:nvCxnSpPr>
        <p:spPr>
          <a:xfrm flipH="1">
            <a:off x="3861435" y="2045323"/>
            <a:ext cx="3365230" cy="9900"/>
          </a:xfrm>
          <a:prstGeom prst="straightConnector1">
            <a:avLst/>
          </a:prstGeom>
          <a:ln>
            <a:solidFill>
              <a:srgbClr val="0070C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CuadroTexto 59"/>
          <p:cNvSpPr txBox="1"/>
          <p:nvPr/>
        </p:nvSpPr>
        <p:spPr>
          <a:xfrm>
            <a:off x="127230" y="1484626"/>
            <a:ext cx="421910" cy="3385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s-PE" sz="1600" dirty="0">
                <a:solidFill>
                  <a:schemeClr val="bg1">
                    <a:lumMod val="25000"/>
                  </a:schemeClr>
                </a:solidFill>
              </a:rPr>
              <a:t>N0</a:t>
            </a:r>
          </a:p>
        </p:txBody>
      </p:sp>
      <p:cxnSp>
        <p:nvCxnSpPr>
          <p:cNvPr id="27" name="Conector recto de flecha 26">
            <a:extLst>
              <a:ext uri="{FF2B5EF4-FFF2-40B4-BE49-F238E27FC236}">
                <a16:creationId xmlns:a16="http://schemas.microsoft.com/office/drawing/2014/main" id="{E1872B9D-DB92-4585-B78A-8308A6E040E3}"/>
              </a:ext>
            </a:extLst>
          </p:cNvPr>
          <p:cNvCxnSpPr>
            <a:cxnSpLocks/>
            <a:stCxn id="42" idx="1"/>
            <a:endCxn id="37" idx="3"/>
          </p:cNvCxnSpPr>
          <p:nvPr/>
        </p:nvCxnSpPr>
        <p:spPr>
          <a:xfrm flipH="1">
            <a:off x="9437580" y="2042298"/>
            <a:ext cx="481754" cy="3025"/>
          </a:xfrm>
          <a:prstGeom prst="straightConnector1">
            <a:avLst/>
          </a:prstGeom>
          <a:ln>
            <a:solidFill>
              <a:srgbClr val="0070C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4">
            <a:extLst>
              <a:ext uri="{FF2B5EF4-FFF2-40B4-BE49-F238E27FC236}">
                <a16:creationId xmlns:a16="http://schemas.microsoft.com/office/drawing/2014/main" id="{6727E3F6-C820-485D-B9C6-5BB24C2B9777}"/>
              </a:ext>
            </a:extLst>
          </p:cNvPr>
          <p:cNvSpPr txBox="1"/>
          <p:nvPr/>
        </p:nvSpPr>
        <p:spPr>
          <a:xfrm>
            <a:off x="604157" y="353596"/>
            <a:ext cx="4049507" cy="338554"/>
          </a:xfrm>
          <a:prstGeom prst="rect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5400000" scaled="1"/>
            <a:tileRect/>
          </a:gra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Modelo</a:t>
            </a:r>
            <a:r>
              <a:rPr lang="en-US" dirty="0"/>
              <a:t> de </a:t>
            </a:r>
            <a:r>
              <a:rPr lang="en-US" dirty="0" err="1"/>
              <a:t>negocio</a:t>
            </a:r>
            <a:r>
              <a:rPr lang="en-US" dirty="0"/>
              <a:t> – </a:t>
            </a:r>
            <a:r>
              <a:rPr lang="en-US" dirty="0" err="1"/>
              <a:t>árbol</a:t>
            </a:r>
            <a:r>
              <a:rPr lang="en-US" dirty="0"/>
              <a:t> de </a:t>
            </a:r>
            <a:r>
              <a:rPr lang="en-US" dirty="0" err="1"/>
              <a:t>Procesos</a:t>
            </a:r>
            <a:endParaRPr lang="en-US" dirty="0"/>
          </a:p>
        </p:txBody>
      </p:sp>
      <p:sp>
        <p:nvSpPr>
          <p:cNvPr id="46" name="Rectángulo 45"/>
          <p:cNvSpPr/>
          <p:nvPr/>
        </p:nvSpPr>
        <p:spPr>
          <a:xfrm>
            <a:off x="4082416" y="1676530"/>
            <a:ext cx="1373004" cy="782839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ón de pagos</a:t>
            </a:r>
          </a:p>
        </p:txBody>
      </p:sp>
      <p:sp>
        <p:nvSpPr>
          <p:cNvPr id="55" name="Rectángulo 54"/>
          <p:cNvSpPr/>
          <p:nvPr/>
        </p:nvSpPr>
        <p:spPr>
          <a:xfrm>
            <a:off x="5631680" y="1686462"/>
            <a:ext cx="1373004" cy="782839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ón de cobranzas</a:t>
            </a: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87294FA4-090D-4BD8-9FB6-00EFD4CD9CB0}"/>
              </a:ext>
            </a:extLst>
          </p:cNvPr>
          <p:cNvSpPr/>
          <p:nvPr/>
        </p:nvSpPr>
        <p:spPr>
          <a:xfrm>
            <a:off x="706756" y="3010000"/>
            <a:ext cx="10778490" cy="289973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84676033-C9CF-4892-BE74-24A8849A73CC}"/>
              </a:ext>
            </a:extLst>
          </p:cNvPr>
          <p:cNvSpPr/>
          <p:nvPr/>
        </p:nvSpPr>
        <p:spPr>
          <a:xfrm>
            <a:off x="866534" y="3261241"/>
            <a:ext cx="1400916" cy="422910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iliación</a:t>
            </a: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E4B74A35-8275-4A93-BFE6-570E71FAA1B4}"/>
              </a:ext>
            </a:extLst>
          </p:cNvPr>
          <p:cNvSpPr/>
          <p:nvPr/>
        </p:nvSpPr>
        <p:spPr>
          <a:xfrm>
            <a:off x="2323801" y="3276317"/>
            <a:ext cx="1434206" cy="422910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iliación</a:t>
            </a:r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id="{71AACED1-D816-4811-9CC7-BD5FA2739FF0}"/>
              </a:ext>
            </a:extLst>
          </p:cNvPr>
          <p:cNvSpPr/>
          <p:nvPr/>
        </p:nvSpPr>
        <p:spPr>
          <a:xfrm>
            <a:off x="4032909" y="3288102"/>
            <a:ext cx="1434206" cy="422910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onos </a:t>
            </a:r>
          </a:p>
        </p:txBody>
      </p:sp>
      <p:sp>
        <p:nvSpPr>
          <p:cNvPr id="43" name="Rectángulo 42">
            <a:extLst>
              <a:ext uri="{FF2B5EF4-FFF2-40B4-BE49-F238E27FC236}">
                <a16:creationId xmlns:a16="http://schemas.microsoft.com/office/drawing/2014/main" id="{A31F4709-26DB-4924-8E6A-702B63B21C2D}"/>
              </a:ext>
            </a:extLst>
          </p:cNvPr>
          <p:cNvSpPr/>
          <p:nvPr/>
        </p:nvSpPr>
        <p:spPr>
          <a:xfrm>
            <a:off x="868712" y="3796099"/>
            <a:ext cx="1399238" cy="422910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spaso In</a:t>
            </a:r>
          </a:p>
        </p:txBody>
      </p:sp>
      <p:sp>
        <p:nvSpPr>
          <p:cNvPr id="44" name="Rectángulo 43">
            <a:extLst>
              <a:ext uri="{FF2B5EF4-FFF2-40B4-BE49-F238E27FC236}">
                <a16:creationId xmlns:a16="http://schemas.microsoft.com/office/drawing/2014/main" id="{0D246B7E-1DFC-4EF1-A4CB-13EF408E93EF}"/>
              </a:ext>
            </a:extLst>
          </p:cNvPr>
          <p:cNvSpPr/>
          <p:nvPr/>
        </p:nvSpPr>
        <p:spPr>
          <a:xfrm>
            <a:off x="7487557" y="3266277"/>
            <a:ext cx="1950023" cy="422910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ón de beneficios</a:t>
            </a:r>
          </a:p>
        </p:txBody>
      </p:sp>
      <p:sp>
        <p:nvSpPr>
          <p:cNvPr id="48" name="Rectángulo 47">
            <a:extLst>
              <a:ext uri="{FF2B5EF4-FFF2-40B4-BE49-F238E27FC236}">
                <a16:creationId xmlns:a16="http://schemas.microsoft.com/office/drawing/2014/main" id="{EC821D2C-5D88-4197-93EF-03AD135017B5}"/>
              </a:ext>
            </a:extLst>
          </p:cNvPr>
          <p:cNvSpPr/>
          <p:nvPr/>
        </p:nvSpPr>
        <p:spPr>
          <a:xfrm>
            <a:off x="9860342" y="3276317"/>
            <a:ext cx="1529576" cy="422910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afiliación</a:t>
            </a:r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id="{756EE587-54C6-489F-BFFC-3E46FA85859E}"/>
              </a:ext>
            </a:extLst>
          </p:cNvPr>
          <p:cNvSpPr/>
          <p:nvPr/>
        </p:nvSpPr>
        <p:spPr>
          <a:xfrm>
            <a:off x="9860342" y="3847718"/>
            <a:ext cx="1529576" cy="422910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spaso </a:t>
            </a:r>
            <a:r>
              <a:rPr lang="es-PE" sz="1400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</a:t>
            </a:r>
            <a:endParaRPr lang="es-PE" sz="14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4E7E89D8-4A05-4688-B2B9-A7C49C330387}"/>
              </a:ext>
            </a:extLst>
          </p:cNvPr>
          <p:cNvSpPr/>
          <p:nvPr/>
        </p:nvSpPr>
        <p:spPr>
          <a:xfrm>
            <a:off x="2353489" y="3807670"/>
            <a:ext cx="1434206" cy="422910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reditación</a:t>
            </a: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id="{EFD71A2D-2CF8-4A2D-82BE-F0EE61D8C5B2}"/>
              </a:ext>
            </a:extLst>
          </p:cNvPr>
          <p:cNvSpPr/>
          <p:nvPr/>
        </p:nvSpPr>
        <p:spPr>
          <a:xfrm>
            <a:off x="5682194" y="3276317"/>
            <a:ext cx="1434206" cy="422910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ción de deuda</a:t>
            </a:r>
          </a:p>
        </p:txBody>
      </p:sp>
      <p:sp>
        <p:nvSpPr>
          <p:cNvPr id="71" name="Rectángulo 70">
            <a:extLst>
              <a:ext uri="{FF2B5EF4-FFF2-40B4-BE49-F238E27FC236}">
                <a16:creationId xmlns:a16="http://schemas.microsoft.com/office/drawing/2014/main" id="{C125471C-0D11-4A1D-88FB-41B7AA1886EE}"/>
              </a:ext>
            </a:extLst>
          </p:cNvPr>
          <p:cNvSpPr/>
          <p:nvPr/>
        </p:nvSpPr>
        <p:spPr>
          <a:xfrm>
            <a:off x="4018019" y="3771617"/>
            <a:ext cx="1434206" cy="422910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gos</a:t>
            </a:r>
          </a:p>
        </p:txBody>
      </p:sp>
      <p:sp>
        <p:nvSpPr>
          <p:cNvPr id="72" name="Rectángulo 71">
            <a:extLst>
              <a:ext uri="{FF2B5EF4-FFF2-40B4-BE49-F238E27FC236}">
                <a16:creationId xmlns:a16="http://schemas.microsoft.com/office/drawing/2014/main" id="{9D9BA752-3D23-40BB-9EA6-240AF11A20A5}"/>
              </a:ext>
            </a:extLst>
          </p:cNvPr>
          <p:cNvSpPr/>
          <p:nvPr/>
        </p:nvSpPr>
        <p:spPr>
          <a:xfrm>
            <a:off x="5682550" y="3771617"/>
            <a:ext cx="1434206" cy="422910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ón de deuda </a:t>
            </a:r>
          </a:p>
        </p:txBody>
      </p:sp>
      <p:sp>
        <p:nvSpPr>
          <p:cNvPr id="73" name="Rectángulo 72">
            <a:extLst>
              <a:ext uri="{FF2B5EF4-FFF2-40B4-BE49-F238E27FC236}">
                <a16:creationId xmlns:a16="http://schemas.microsoft.com/office/drawing/2014/main" id="{2A887D04-C14C-4504-98AB-10E1123115D3}"/>
              </a:ext>
            </a:extLst>
          </p:cNvPr>
          <p:cNvSpPr/>
          <p:nvPr/>
        </p:nvSpPr>
        <p:spPr>
          <a:xfrm>
            <a:off x="9908027" y="4430552"/>
            <a:ext cx="1434206" cy="422910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idad</a:t>
            </a:r>
          </a:p>
        </p:txBody>
      </p:sp>
      <p:sp>
        <p:nvSpPr>
          <p:cNvPr id="74" name="Rectángulo 73">
            <a:extLst>
              <a:ext uri="{FF2B5EF4-FFF2-40B4-BE49-F238E27FC236}">
                <a16:creationId xmlns:a16="http://schemas.microsoft.com/office/drawing/2014/main" id="{EF57A8FC-BD31-48B0-A659-C524CA7E6F63}"/>
              </a:ext>
            </a:extLst>
          </p:cNvPr>
          <p:cNvSpPr/>
          <p:nvPr/>
        </p:nvSpPr>
        <p:spPr>
          <a:xfrm>
            <a:off x="9908027" y="4958688"/>
            <a:ext cx="1434206" cy="422910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afiliacion</a:t>
            </a:r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75" name="CuadroTexto 74">
            <a:extLst>
              <a:ext uri="{FF2B5EF4-FFF2-40B4-BE49-F238E27FC236}">
                <a16:creationId xmlns:a16="http://schemas.microsoft.com/office/drawing/2014/main" id="{4236B5C6-41B4-454A-98BC-E68B13CB83C0}"/>
              </a:ext>
            </a:extLst>
          </p:cNvPr>
          <p:cNvSpPr txBox="1"/>
          <p:nvPr/>
        </p:nvSpPr>
        <p:spPr>
          <a:xfrm>
            <a:off x="189518" y="3161003"/>
            <a:ext cx="421910" cy="3385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s-PE" sz="1600" dirty="0">
                <a:solidFill>
                  <a:schemeClr val="bg1">
                    <a:lumMod val="25000"/>
                  </a:schemeClr>
                </a:solidFill>
              </a:rPr>
              <a:t>N1</a:t>
            </a:r>
          </a:p>
        </p:txBody>
      </p:sp>
      <p:sp>
        <p:nvSpPr>
          <p:cNvPr id="78" name="Rectángulo 77">
            <a:extLst>
              <a:ext uri="{FF2B5EF4-FFF2-40B4-BE49-F238E27FC236}">
                <a16:creationId xmlns:a16="http://schemas.microsoft.com/office/drawing/2014/main" id="{381458EA-2ACD-494D-8275-A1592B496192}"/>
              </a:ext>
            </a:extLst>
          </p:cNvPr>
          <p:cNvSpPr/>
          <p:nvPr/>
        </p:nvSpPr>
        <p:spPr>
          <a:xfrm>
            <a:off x="4018020" y="4284968"/>
            <a:ext cx="1449096" cy="422910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rización</a:t>
            </a:r>
          </a:p>
        </p:txBody>
      </p:sp>
    </p:spTree>
    <p:extLst>
      <p:ext uri="{BB962C8B-B14F-4D97-AF65-F5344CB8AC3E}">
        <p14:creationId xmlns:p14="http://schemas.microsoft.com/office/powerpoint/2010/main" val="28984813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4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m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6&quot;&gt;&lt;elem m_fUsage=&quot;4.95517867308624282430E+00&quot;&gt;&lt;m_msothmcolidx val=&quot;0&quot;/&gt;&lt;m_rgb r=&quot;00&quot; g=&quot;70&quot; b=&quot;C0&quot;/&gt;&lt;m_nBrightness val=&quot;0&quot;/&gt;&lt;/elem&gt;&lt;elem m_fUsage=&quot;2.80098123474729154836E+00&quot;&gt;&lt;m_msothmcolidx val=&quot;0&quot;/&gt;&lt;m_rgb r=&quot;D7&quot; g=&quot;04&quot; b=&quot;44&quot;/&gt;&lt;m_nBrightness val=&quot;0&quot;/&gt;&lt;/elem&gt;&lt;elem m_fUsage=&quot;1.14445939954493947077E+00&quot;&gt;&lt;m_msothmcolidx val=&quot;0&quot;/&gt;&lt;m_rgb r=&quot;77&quot; g=&quot;84&quot; b=&quot;96&quot;/&gt;&lt;m_nBrightness val=&quot;0&quot;/&gt;&lt;/elem&gt;&lt;elem m_fUsage=&quot;9.42175966137374865106E-01&quot;&gt;&lt;m_msothmcolidx val=&quot;0&quot;/&gt;&lt;m_rgb r=&quot;00&quot; g=&quot;20&quot; b=&quot;60&quot;/&gt;&lt;m_nBrightness val=&quot;0&quot;/&gt;&lt;/elem&gt;&lt;elem m_fUsage=&quot;3.46712068996614039551E-02&quot;&gt;&lt;m_msothmcolidx val=&quot;0&quot;/&gt;&lt;m_rgb r=&quot;F8&quot; g=&quot;96&quot; b=&quot;0D&quot;/&gt;&lt;m_nBrightness val=&quot;0&quot;/&gt;&lt;/elem&gt;&lt;elem m_fUsage=&quot;1.47808829414346077497E-02&quot;&gt;&lt;m_msothmcolidx val=&quot;0&quot;/&gt;&lt;m_rgb r=&quot;99&quot; g=&quot;B4&quot; b=&quot;33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uxe Colored">
      <a:dk1>
        <a:srgbClr val="333639"/>
      </a:dk1>
      <a:lt1>
        <a:srgbClr val="F4F5FC"/>
      </a:lt1>
      <a:dk2>
        <a:srgbClr val="353A42"/>
      </a:dk2>
      <a:lt2>
        <a:srgbClr val="FFFFFF"/>
      </a:lt2>
      <a:accent1>
        <a:srgbClr val="D70444"/>
      </a:accent1>
      <a:accent2>
        <a:srgbClr val="FFD014"/>
      </a:accent2>
      <a:accent3>
        <a:srgbClr val="99B433"/>
      </a:accent3>
      <a:accent4>
        <a:srgbClr val="F8960D"/>
      </a:accent4>
      <a:accent5>
        <a:srgbClr val="00A19C"/>
      </a:accent5>
      <a:accent6>
        <a:srgbClr val="AAB2BD"/>
      </a:accent6>
      <a:hlink>
        <a:srgbClr val="F8960D"/>
      </a:hlink>
      <a:folHlink>
        <a:srgbClr val="D70444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588</TotalTime>
  <Words>277</Words>
  <Application>Microsoft Office PowerPoint</Application>
  <PresentationFormat>Panorámica</PresentationFormat>
  <Paragraphs>115</Paragraphs>
  <Slides>7</Slides>
  <Notes>5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13" baseType="lpstr">
      <vt:lpstr>Arial</vt:lpstr>
      <vt:lpstr>Calibri</vt:lpstr>
      <vt:lpstr>Roboto</vt:lpstr>
      <vt:lpstr>Roboto Condensed Light</vt:lpstr>
      <vt:lpstr>Office Them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SimpleSmar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adabra</dc:title>
  <dc:creator>Luis Alfredo Garcia</dc:creator>
  <dc:description>http://graphicriver.net/user/simplesmart/portfolio</dc:description>
  <cp:lastModifiedBy>Nelson Diaz</cp:lastModifiedBy>
  <cp:revision>2208</cp:revision>
  <cp:lastPrinted>2018-01-11T22:03:44Z</cp:lastPrinted>
  <dcterms:created xsi:type="dcterms:W3CDTF">2015-08-21T03:53:48Z</dcterms:created>
  <dcterms:modified xsi:type="dcterms:W3CDTF">2018-07-10T16:00:00Z</dcterms:modified>
</cp:coreProperties>
</file>